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1"/>
  </p:notesMasterIdLst>
  <p:sldIdLst>
    <p:sldId id="256" r:id="rId3"/>
    <p:sldId id="257" r:id="rId4"/>
    <p:sldId id="258" r:id="rId5"/>
    <p:sldId id="298" r:id="rId6"/>
    <p:sldId id="262" r:id="rId7"/>
    <p:sldId id="264" r:id="rId8"/>
    <p:sldId id="259" r:id="rId9"/>
    <p:sldId id="297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B954"/>
    <a:srgbClr val="0A0A0B"/>
    <a:srgbClr val="191414"/>
    <a:srgbClr val="0C0D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8903" autoAdjust="0"/>
  </p:normalViewPr>
  <p:slideViewPr>
    <p:cSldViewPr snapToGrid="0">
      <p:cViewPr varScale="1">
        <p:scale>
          <a:sx n="80" d="100"/>
          <a:sy n="80" d="100"/>
        </p:scale>
        <p:origin x="58" y="2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DE6012-1BD2-423A-B783-8C352B9F1F3A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EDCF92-708B-42BD-8680-DB4A1F579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653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eptillion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usic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photo/lifestyle-summer-holidays-technology-concept-carefree-happy-handsome-man-close-eyes-feeling-pleased-listening-favorite-song-wireless-headphones-feel-satisfaction-perfect-sound_17118229.htm#query=hearing%20music&amp;position=5&amp;from_view=search"&gt;Image by </a:t>
            </a:r>
            <a:r>
              <a:rPr lang="en-US" dirty="0" err="1"/>
              <a:t>benzoix</a:t>
            </a:r>
            <a:r>
              <a:rPr lang="en-US" dirty="0"/>
              <a:t>&lt;/a&gt; on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407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Frank Septilli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33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5383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832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9082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EDCF92-708B-42BD-8680-DB4A1F57983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175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BA3804-116A-593A-9926-13C4F99969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4CFECD-2E63-38F8-9058-19CF0FA55C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723B3F-55A5-BED3-F7EA-8545E4A87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9BE5EB-25AD-92D6-5BB0-5B7CA419C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798E25-5FA8-D9D7-8A9A-409230024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3997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FC7DA9-C965-0040-A5D8-E8D946BCA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35E157-4AA1-F608-CB52-82001F529D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5CD316-EA07-E121-FACF-A6A16B4A79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252073-B009-B6FB-9A0C-EFFE3E55B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4F6484-D1A2-AA04-7D5B-6C4CB25EE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9113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C3D4A07-D9A6-DAF1-3CCD-1989D4013A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677080-F720-4FDB-B5D3-945225EAF9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E8042C-D186-F0B1-DC55-CA5D47D39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6E73D2-E70F-A7F8-F214-B73E40BF3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77E048-5A3B-A13D-A099-F5C8B2101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1647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407B1E-6427-4C34-9A89-1E8A6754B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2A01C-61EC-4D49-878D-066848BDDCD0}" type="datetimeFigureOut">
              <a:rPr lang="en-ID" smtClean="0"/>
              <a:t>29/06/20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5E90D4-8C75-4436-BFAA-F71273A4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2F622D-A25F-4DC1-9B66-12C9945E4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12041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D4DD3-678E-4AFD-A40F-E4DACEA77179}" type="datetime1">
              <a:rPr lang="en-US" smtClean="0"/>
              <a:t>6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0D0FF3-A2B2-493D-8FE0-A9B0D0F67B95}"/>
              </a:ext>
            </a:extLst>
          </p:cNvPr>
          <p:cNvSpPr/>
          <p:nvPr userDrawn="1"/>
        </p:nvSpPr>
        <p:spPr>
          <a:xfrm>
            <a:off x="10223500" y="6356350"/>
            <a:ext cx="1968500" cy="501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ED446B-6B6E-4F72-A142-4F2CFE0B7463}"/>
              </a:ext>
            </a:extLst>
          </p:cNvPr>
          <p:cNvSpPr/>
          <p:nvPr userDrawn="1"/>
        </p:nvSpPr>
        <p:spPr>
          <a:xfrm>
            <a:off x="215900" y="196850"/>
            <a:ext cx="11760200" cy="64643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179AD8-EB94-48B9-85DE-CEB8A1CAEB16}"/>
              </a:ext>
            </a:extLst>
          </p:cNvPr>
          <p:cNvSpPr/>
          <p:nvPr userDrawn="1"/>
        </p:nvSpPr>
        <p:spPr>
          <a:xfrm>
            <a:off x="584200" y="0"/>
            <a:ext cx="292100" cy="1206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347335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552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57B937-C3F4-F051-E056-F10DACC157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022A3-1CA7-E45D-19A4-E7F3AB1DA2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E3C8E6-47E2-B3A9-EB6A-BA474DDF6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2AA51-C5A2-AAFC-C759-524AC0587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AA6747-8976-58AD-FBD8-315C35CDF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4853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0C816-8050-44E0-0B50-7928C47721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18D957-3BCD-649A-845F-D45CB46070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2B80FE-88B7-1D16-4322-AF08BDD34E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B78BA6-EF04-9698-C62A-1CE934987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9797AC-5E45-6C15-0EEC-3056E5340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3809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44201-438F-65A7-9B70-731DBAD71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AD1E9C-B535-CE07-8402-0B97E0FD06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9AFE8C-2A7E-4C91-58EA-868541A5BF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7D709D-F446-5949-6722-999DBE8C1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C9DEE2-A2B7-0EB1-5C30-29210953F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DE58A0-0161-234A-7D09-E1E4E37DD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885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8C7B6-683F-5937-3461-742A623E3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6FF785-7790-C63E-D448-050BE460C3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CA74ED-DF82-2F2A-FE20-7429BB6789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87A19B-E0B0-1637-C122-AC945A8A41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026800-92A6-41A2-A970-45FFFDB249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091ED1-4695-FE72-FC9A-3AEE4ED08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B3B6345-F50D-4938-9DDD-395D85897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B93662-0A60-8302-6B99-B1167B216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5987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97CB3-F5F6-A2F0-3555-B06BBF4D9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CB5CDB-D9BA-A241-BD1C-A8201BD03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597C7E-14DE-A920-6F42-F3FFE31A2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83B9D2-3446-AEF6-5AD2-640892003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3838" y="6356350"/>
            <a:ext cx="2743200" cy="365125"/>
          </a:xfrm>
        </p:spPr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370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FFD666-9BD8-5EEE-E9C3-4FD0D3CD80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3E2114-85C1-A43D-BAEB-07894EB3C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98E82B-2455-0335-5EB9-C55587B40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5891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1B5EBF-888B-DB8B-76AB-45C980EB0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233736-DD60-FF09-2346-3CD6F49771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88A7EA-1063-5961-62A7-2BF568B976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32E3C8-F431-345C-1C58-CD5B8B3275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13D2B2-A4B5-DE06-1229-098C8B7F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A6BE5-565A-32F0-5FB1-9F6AA9A5B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209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AFD19E-BE4B-6BEE-53AE-7406D4BB3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38382F7-6C8D-7849-8F47-E6DC0665C0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0F105-DECE-3555-A4BC-217F969913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D0377F-9182-85F2-3E10-B7CE5FFDAC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BCC02A-E3B2-1FEA-ADE9-1B54958C1D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D66DC9-13A0-4178-9542-66A5A7CCC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781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E26476-4B52-8E75-7F4F-4895B8C5D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96863"/>
            <a:ext cx="11522075" cy="11509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006F6C-5E13-259C-8F43-C175A46F9F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71D0D-1DF4-3A74-6EB6-8874D7CA60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85A3C5-C84E-4FAD-9AAC-6508D1A5CE25}" type="datetimeFigureOut">
              <a:rPr lang="en-US" smtClean="0"/>
              <a:t>6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73940D-1EDB-80BA-AC24-A06B26EBB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102402-0D43-1859-F7EC-DEA6B56D2F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A3122D-F12A-4AEE-804B-8A547861C0B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A11648-5179-F6E5-DB6F-C2BABFE0493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76470"/>
            <a:ext cx="2906917" cy="800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53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orient="horz" pos="187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853DF03-CD76-4B5A-8EB3-63B382E131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7589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853DF03-CD76-4B5A-8EB3-63B382E131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183CDAB-5319-4127-A949-FD374215343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D28C36-06A6-4687-99BA-A709C0EB5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D70-3CB1-4CF2-B956-6C0AF1AA7F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440B9-E739-4FE5-9BD0-8C11247179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32A01C-61EC-4D49-878D-066848BDDCD0}" type="datetimeFigureOut">
              <a:rPr lang="en-ID" smtClean="0"/>
              <a:t>29/06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39059-A5DB-4AFA-87B8-190DB28F7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099BD2-E85E-4D1D-BA49-DDEA0BA69E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4021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9.jpe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0.png"/><Relationship Id="rId9" Type="http://schemas.openxmlformats.org/officeDocument/2006/relationships/image" Target="../media/image14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5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0.png"/><Relationship Id="rId9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0.pn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jpg"/><Relationship Id="rId11" Type="http://schemas.openxmlformats.org/officeDocument/2006/relationships/image" Target="../media/image14.svg"/><Relationship Id="rId5" Type="http://schemas.openxmlformats.org/officeDocument/2006/relationships/image" Target="../media/image17.jpg"/><Relationship Id="rId10" Type="http://schemas.openxmlformats.org/officeDocument/2006/relationships/image" Target="../media/image13.png"/><Relationship Id="rId4" Type="http://schemas.microsoft.com/office/2007/relationships/hdphoto" Target="../media/hdphoto1.wdp"/><Relationship Id="rId9" Type="http://schemas.openxmlformats.org/officeDocument/2006/relationships/image" Target="../media/image12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jpg"/><Relationship Id="rId4" Type="http://schemas.openxmlformats.org/officeDocument/2006/relationships/image" Target="../media/image14.sv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21.jpeg"/><Relationship Id="rId7" Type="http://schemas.openxmlformats.org/officeDocument/2006/relationships/image" Target="../media/image10.png"/><Relationship Id="rId12" Type="http://schemas.openxmlformats.org/officeDocument/2006/relationships/image" Target="../media/image14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jpeg"/><Relationship Id="rId11" Type="http://schemas.openxmlformats.org/officeDocument/2006/relationships/image" Target="../media/image13.png"/><Relationship Id="rId5" Type="http://schemas.openxmlformats.org/officeDocument/2006/relationships/image" Target="../media/image23.jpeg"/><Relationship Id="rId10" Type="http://schemas.openxmlformats.org/officeDocument/2006/relationships/image" Target="../media/image12.svg"/><Relationship Id="rId4" Type="http://schemas.openxmlformats.org/officeDocument/2006/relationships/image" Target="../media/image22.jpeg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lock Arc 32">
            <a:extLst>
              <a:ext uri="{FF2B5EF4-FFF2-40B4-BE49-F238E27FC236}">
                <a16:creationId xmlns:a16="http://schemas.microsoft.com/office/drawing/2014/main" id="{2FAB1B89-B0AE-576E-C1B2-E534893E8DAB}"/>
              </a:ext>
            </a:extLst>
          </p:cNvPr>
          <p:cNvSpPr/>
          <p:nvPr/>
        </p:nvSpPr>
        <p:spPr>
          <a:xfrm rot="5400000" flipH="1" flipV="1">
            <a:off x="5837346" y="5049945"/>
            <a:ext cx="1590541" cy="1590541"/>
          </a:xfrm>
          <a:prstGeom prst="blockArc">
            <a:avLst>
              <a:gd name="adj1" fmla="val 5832300"/>
              <a:gd name="adj2" fmla="val 77390"/>
              <a:gd name="adj3" fmla="val 1878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D8B5AFE-A597-F58E-79A2-5352CBA651D2}"/>
              </a:ext>
            </a:extLst>
          </p:cNvPr>
          <p:cNvCxnSpPr>
            <a:cxnSpLocks/>
          </p:cNvCxnSpPr>
          <p:nvPr/>
        </p:nvCxnSpPr>
        <p:spPr>
          <a:xfrm>
            <a:off x="2662178" y="2106592"/>
            <a:ext cx="7259062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9C2C8248-3C6F-1D66-64DA-1AAA19C68A62}"/>
              </a:ext>
            </a:extLst>
          </p:cNvPr>
          <p:cNvSpPr/>
          <p:nvPr/>
        </p:nvSpPr>
        <p:spPr>
          <a:xfrm>
            <a:off x="0" y="-1"/>
            <a:ext cx="9618562" cy="310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07C51B-EE8A-7E19-337C-1EF8144E663C}"/>
              </a:ext>
            </a:extLst>
          </p:cNvPr>
          <p:cNvSpPr txBox="1"/>
          <p:nvPr/>
        </p:nvSpPr>
        <p:spPr>
          <a:xfrm>
            <a:off x="912582" y="252626"/>
            <a:ext cx="621430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6000" b="1" dirty="0">
                <a:solidFill>
                  <a:srgbClr val="00B050"/>
                </a:solidFill>
                <a:latin typeface="Bahnschrift SemiBold SemiConden" panose="020B0502040204020203" pitchFamily="34" charset="0"/>
              </a:rPr>
              <a:t>Analyze Spotify Trends Using Tableau</a:t>
            </a:r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33DF9C08-447A-1313-A46F-71430CC93838}"/>
              </a:ext>
            </a:extLst>
          </p:cNvPr>
          <p:cNvSpPr/>
          <p:nvPr/>
        </p:nvSpPr>
        <p:spPr>
          <a:xfrm>
            <a:off x="6629400" y="0"/>
            <a:ext cx="348996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DB9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person talking on a cell phone&#10;&#10;Description automatically generated with medium confidence">
            <a:extLst>
              <a:ext uri="{FF2B5EF4-FFF2-40B4-BE49-F238E27FC236}">
                <a16:creationId xmlns:a16="http://schemas.microsoft.com/office/drawing/2014/main" id="{9F891B18-3D8B-095E-2AA5-A7C7E1D3B1B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46" r="28021" b="17642"/>
          <a:stretch/>
        </p:blipFill>
        <p:spPr>
          <a:xfrm>
            <a:off x="6065520" y="-274320"/>
            <a:ext cx="6109588" cy="713232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E4E7984-497A-6366-05D4-C73F944B01C3}"/>
              </a:ext>
            </a:extLst>
          </p:cNvPr>
          <p:cNvGrpSpPr/>
          <p:nvPr/>
        </p:nvGrpSpPr>
        <p:grpSpPr>
          <a:xfrm rot="20212618">
            <a:off x="6783050" y="3105332"/>
            <a:ext cx="654942" cy="680132"/>
            <a:chOff x="6714281" y="3033918"/>
            <a:chExt cx="792480" cy="82296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2EDBB0C-C99E-63F6-0A3C-B07870F015C8}"/>
                </a:ext>
              </a:extLst>
            </p:cNvPr>
            <p:cNvSpPr/>
            <p:nvPr/>
          </p:nvSpPr>
          <p:spPr>
            <a:xfrm>
              <a:off x="6714281" y="3033918"/>
              <a:ext cx="792480" cy="8229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3" name="Graphic 22" descr="Music note outline">
              <a:extLst>
                <a:ext uri="{FF2B5EF4-FFF2-40B4-BE49-F238E27FC236}">
                  <a16:creationId xmlns:a16="http://schemas.microsoft.com/office/drawing/2014/main" id="{D0DBD263-1023-8044-0E56-988D7C3F91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26636" y="3161513"/>
              <a:ext cx="567771" cy="567771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AAC2752-81B3-8900-1568-FF1F757AA32B}"/>
              </a:ext>
            </a:extLst>
          </p:cNvPr>
          <p:cNvGrpSpPr/>
          <p:nvPr/>
        </p:nvGrpSpPr>
        <p:grpSpPr>
          <a:xfrm rot="1725106">
            <a:off x="10603826" y="4890299"/>
            <a:ext cx="1054791" cy="1095360"/>
            <a:chOff x="10454640" y="1737360"/>
            <a:chExt cx="792480" cy="82296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16CE5-D46B-A54D-481E-0FDF08BBA5EA}"/>
                </a:ext>
              </a:extLst>
            </p:cNvPr>
            <p:cNvSpPr/>
            <p:nvPr/>
          </p:nvSpPr>
          <p:spPr>
            <a:xfrm>
              <a:off x="10454640" y="1737360"/>
              <a:ext cx="792480" cy="8229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5" name="Graphic 24" descr="Music notes outline">
              <a:extLst>
                <a:ext uri="{FF2B5EF4-FFF2-40B4-BE49-F238E27FC236}">
                  <a16:creationId xmlns:a16="http://schemas.microsoft.com/office/drawing/2014/main" id="{2318372A-3CA4-4303-D2D1-20B43216A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566995" y="1864955"/>
              <a:ext cx="567771" cy="567771"/>
            </a:xfrm>
            <a:prstGeom prst="rect">
              <a:avLst/>
            </a:prstGeom>
          </p:spPr>
        </p:pic>
      </p:grpSp>
      <p:sp>
        <p:nvSpPr>
          <p:cNvPr id="32" name="Block Arc 31">
            <a:extLst>
              <a:ext uri="{FF2B5EF4-FFF2-40B4-BE49-F238E27FC236}">
                <a16:creationId xmlns:a16="http://schemas.microsoft.com/office/drawing/2014/main" id="{77AF9ACB-B7B1-85CC-5751-ACE4C8CBDA1D}"/>
              </a:ext>
            </a:extLst>
          </p:cNvPr>
          <p:cNvSpPr/>
          <p:nvPr/>
        </p:nvSpPr>
        <p:spPr>
          <a:xfrm rot="16200000" flipV="1">
            <a:off x="-869339" y="1"/>
            <a:ext cx="1715529" cy="1715529"/>
          </a:xfrm>
          <a:prstGeom prst="blockArc">
            <a:avLst>
              <a:gd name="adj1" fmla="val 10800000"/>
              <a:gd name="adj2" fmla="val 21551066"/>
              <a:gd name="adj3" fmla="val 17623"/>
            </a:avLst>
          </a:prstGeom>
          <a:solidFill>
            <a:srgbClr val="1DB9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5953E4-4FDA-71E1-D009-1100A0BD0910}"/>
              </a:ext>
            </a:extLst>
          </p:cNvPr>
          <p:cNvSpPr txBox="1"/>
          <p:nvPr/>
        </p:nvSpPr>
        <p:spPr>
          <a:xfrm>
            <a:off x="4228488" y="3269793"/>
            <a:ext cx="268196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dirty="0">
                <a:solidFill>
                  <a:srgbClr val="00B050"/>
                </a:solidFill>
              </a:rPr>
              <a:t>SURBHI VERMA </a:t>
            </a:r>
          </a:p>
          <a:p>
            <a:r>
              <a:rPr lang="en-IN" dirty="0">
                <a:solidFill>
                  <a:srgbClr val="00B050"/>
                </a:solidFill>
              </a:rPr>
              <a:t>29/06/2024</a:t>
            </a:r>
          </a:p>
          <a:p>
            <a:endParaRPr lang="en-IN" dirty="0">
              <a:solidFill>
                <a:srgbClr val="00B050"/>
              </a:solidFill>
            </a:endParaRPr>
          </a:p>
        </p:txBody>
      </p:sp>
      <p:pic>
        <p:nvPicPr>
          <p:cNvPr id="1026" name="Picture 2" descr="Spotify | Spotify logo, Album cover wallpaper collage, Brand ...">
            <a:extLst>
              <a:ext uri="{FF2B5EF4-FFF2-40B4-BE49-F238E27FC236}">
                <a16:creationId xmlns:a16="http://schemas.microsoft.com/office/drawing/2014/main" id="{149BCF61-07D7-DDA5-5EF1-98DED0620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86" y="3092816"/>
            <a:ext cx="1751700" cy="1571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64556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391331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out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potif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0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46B618-2CF9-7941-4EA2-0BAE302EE4DF}"/>
              </a:ext>
            </a:extLst>
          </p:cNvPr>
          <p:cNvSpPr txBox="1"/>
          <p:nvPr/>
        </p:nvSpPr>
        <p:spPr>
          <a:xfrm>
            <a:off x="383220" y="1322985"/>
            <a:ext cx="2296800" cy="325199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out Spotif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CCABAF-CABD-0DCA-146A-8DF8AA94EF98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Alb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360DE8-31EE-FAA3-E777-47004567BD15}"/>
              </a:ext>
            </a:extLst>
          </p:cNvPr>
          <p:cNvSpPr txBox="1"/>
          <p:nvPr/>
        </p:nvSpPr>
        <p:spPr>
          <a:xfrm>
            <a:off x="383220" y="2364941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ylis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87CD81E-E586-441B-5E91-A4F6467F9ED1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ferenc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65E560A-5878-F6A4-D133-56FE5AC42BB5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2D323B2B-1A46-4DE2-23B4-AE05B947C523}"/>
              </a:ext>
            </a:extLst>
          </p:cNvPr>
          <p:cNvSpPr/>
          <p:nvPr/>
        </p:nvSpPr>
        <p:spPr>
          <a:xfrm>
            <a:off x="3428683" y="1367642"/>
            <a:ext cx="8382635" cy="3453455"/>
          </a:xfrm>
          <a:prstGeom prst="roundRect">
            <a:avLst>
              <a:gd name="adj" fmla="val 7408"/>
            </a:avLst>
          </a:prstGeom>
          <a:solidFill>
            <a:srgbClr val="0A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3" name="Picture 42" descr="A picture containing indoor&#10;&#10;Description automatically generated">
            <a:extLst>
              <a:ext uri="{FF2B5EF4-FFF2-40B4-BE49-F238E27FC236}">
                <a16:creationId xmlns:a16="http://schemas.microsoft.com/office/drawing/2014/main" id="{0F692F82-882C-EDCF-EEB3-22975332AE5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18" r="18506" b="-777"/>
          <a:stretch/>
        </p:blipFill>
        <p:spPr>
          <a:xfrm>
            <a:off x="5685230" y="1325112"/>
            <a:ext cx="6126088" cy="3495985"/>
          </a:xfrm>
          <a:custGeom>
            <a:avLst/>
            <a:gdLst>
              <a:gd name="connsiteX0" fmla="*/ 0 w 6126088"/>
              <a:gd name="connsiteY0" fmla="*/ 0 h 2870791"/>
              <a:gd name="connsiteX1" fmla="*/ 5913420 w 6126088"/>
              <a:gd name="connsiteY1" fmla="*/ 0 h 2870791"/>
              <a:gd name="connsiteX2" fmla="*/ 6126088 w 6126088"/>
              <a:gd name="connsiteY2" fmla="*/ 212668 h 2870791"/>
              <a:gd name="connsiteX3" fmla="*/ 6126088 w 6126088"/>
              <a:gd name="connsiteY3" fmla="*/ 2658123 h 2870791"/>
              <a:gd name="connsiteX4" fmla="*/ 5913420 w 6126088"/>
              <a:gd name="connsiteY4" fmla="*/ 2870791 h 2870791"/>
              <a:gd name="connsiteX5" fmla="*/ 0 w 6126088"/>
              <a:gd name="connsiteY5" fmla="*/ 2870791 h 2870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26088" h="2870791">
                <a:moveTo>
                  <a:pt x="0" y="0"/>
                </a:moveTo>
                <a:lnTo>
                  <a:pt x="5913420" y="0"/>
                </a:lnTo>
                <a:cubicBezTo>
                  <a:pt x="6030873" y="0"/>
                  <a:pt x="6126088" y="95215"/>
                  <a:pt x="6126088" y="212668"/>
                </a:cubicBezTo>
                <a:lnTo>
                  <a:pt x="6126088" y="2658123"/>
                </a:lnTo>
                <a:cubicBezTo>
                  <a:pt x="6126088" y="2775576"/>
                  <a:pt x="6030873" y="2870791"/>
                  <a:pt x="5913420" y="2870791"/>
                </a:cubicBezTo>
                <a:lnTo>
                  <a:pt x="0" y="2870791"/>
                </a:lnTo>
                <a:close/>
              </a:path>
            </a:pathLst>
          </a:custGeom>
        </p:spPr>
      </p:pic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9B6C86C2-F620-98F4-A4E8-61A4CB9431C9}"/>
              </a:ext>
            </a:extLst>
          </p:cNvPr>
          <p:cNvSpPr/>
          <p:nvPr/>
        </p:nvSpPr>
        <p:spPr>
          <a:xfrm>
            <a:off x="3428683" y="1322985"/>
            <a:ext cx="8382635" cy="3498112"/>
          </a:xfrm>
          <a:prstGeom prst="roundRect">
            <a:avLst>
              <a:gd name="adj" fmla="val 7408"/>
            </a:avLst>
          </a:prstGeom>
          <a:gradFill>
            <a:gsLst>
              <a:gs pos="0">
                <a:srgbClr val="0A0A0B"/>
              </a:gs>
              <a:gs pos="100000">
                <a:srgbClr val="0C0D0E">
                  <a:alpha val="13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potify is a global music streaming service offering on-demand access to a vast library of songs, podcasts, and videos.</a:t>
            </a:r>
          </a:p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aunched in 2008: Global music streaming servi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Vast Library: Songs, podcasts, and vide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n-Demand: Stream without ownership, available on multiple devi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ersonalized : Curated playlists and recommend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ocial Features: Reshapes music discovery and sharing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4A8EB87-AA5F-5CEE-22BC-7F87E93F76F5}"/>
              </a:ext>
            </a:extLst>
          </p:cNvPr>
          <p:cNvSpPr txBox="1"/>
          <p:nvPr/>
        </p:nvSpPr>
        <p:spPr>
          <a:xfrm>
            <a:off x="4444227" y="5223150"/>
            <a:ext cx="2718118" cy="7105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207EBB2-61F5-E0DA-BE3D-2CDCF2FACD60}"/>
              </a:ext>
            </a:extLst>
          </p:cNvPr>
          <p:cNvSpPr txBox="1"/>
          <p:nvPr/>
        </p:nvSpPr>
        <p:spPr>
          <a:xfrm>
            <a:off x="8778240" y="5223150"/>
            <a:ext cx="2718118" cy="7105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Rectangle: Top Corners Rounded 59">
            <a:extLst>
              <a:ext uri="{FF2B5EF4-FFF2-40B4-BE49-F238E27FC236}">
                <a16:creationId xmlns:a16="http://schemas.microsoft.com/office/drawing/2014/main" id="{A8B32FA7-9DD5-84FD-B013-2AC801BA3D78}"/>
              </a:ext>
            </a:extLst>
          </p:cNvPr>
          <p:cNvSpPr/>
          <p:nvPr/>
        </p:nvSpPr>
        <p:spPr>
          <a:xfrm>
            <a:off x="11079126" y="6308725"/>
            <a:ext cx="777912" cy="549275"/>
          </a:xfrm>
          <a:prstGeom prst="round2SameRect">
            <a:avLst/>
          </a:prstGeom>
          <a:solidFill>
            <a:srgbClr val="1DB9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25" name="Group 1024">
            <a:extLst>
              <a:ext uri="{FF2B5EF4-FFF2-40B4-BE49-F238E27FC236}">
                <a16:creationId xmlns:a16="http://schemas.microsoft.com/office/drawing/2014/main" id="{2623E88C-031E-6A84-C964-AA78B1BD632D}"/>
              </a:ext>
            </a:extLst>
          </p:cNvPr>
          <p:cNvGrpSpPr/>
          <p:nvPr/>
        </p:nvGrpSpPr>
        <p:grpSpPr>
          <a:xfrm>
            <a:off x="3754914" y="5369044"/>
            <a:ext cx="345758" cy="418751"/>
            <a:chOff x="4872038" y="2895601"/>
            <a:chExt cx="285750" cy="346075"/>
          </a:xfrm>
        </p:grpSpPr>
        <p:sp>
          <p:nvSpPr>
            <p:cNvPr id="1027" name="Freeform 295">
              <a:extLst>
                <a:ext uri="{FF2B5EF4-FFF2-40B4-BE49-F238E27FC236}">
                  <a16:creationId xmlns:a16="http://schemas.microsoft.com/office/drawing/2014/main" id="{D69FFF3F-AB7B-5C89-B25B-5141C6E94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2363" y="3135313"/>
              <a:ext cx="44450" cy="46038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0 h 12"/>
                <a:gd name="T10" fmla="*/ 12 w 12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9"/>
                    <a:pt x="9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" y="0"/>
                    <a:pt x="11" y="0"/>
                    <a:pt x="12" y="0"/>
                  </a:cubicBezTo>
                  <a:cubicBezTo>
                    <a:pt x="12" y="2"/>
                    <a:pt x="12" y="4"/>
                    <a:pt x="12" y="6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  <p:sp>
          <p:nvSpPr>
            <p:cNvPr id="1028" name="Freeform 296">
              <a:extLst>
                <a:ext uri="{FF2B5EF4-FFF2-40B4-BE49-F238E27FC236}">
                  <a16:creationId xmlns:a16="http://schemas.microsoft.com/office/drawing/2014/main" id="{DA3C8DCE-EBC3-75B0-608C-0C9BB7FE6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263" y="3090863"/>
              <a:ext cx="46038" cy="44450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0 h 12"/>
                <a:gd name="T10" fmla="*/ 12 w 12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9"/>
                    <a:pt x="9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" y="0"/>
                    <a:pt x="11" y="0"/>
                    <a:pt x="12" y="0"/>
                  </a:cubicBezTo>
                  <a:cubicBezTo>
                    <a:pt x="12" y="2"/>
                    <a:pt x="12" y="4"/>
                    <a:pt x="12" y="6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9" name="Freeform 297">
              <a:extLst>
                <a:ext uri="{FF2B5EF4-FFF2-40B4-BE49-F238E27FC236}">
                  <a16:creationId xmlns:a16="http://schemas.microsoft.com/office/drawing/2014/main" id="{A30C8D7B-286A-230A-0F6B-629E786A7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3000376"/>
              <a:ext cx="90488" cy="142875"/>
            </a:xfrm>
            <a:custGeom>
              <a:avLst/>
              <a:gdLst>
                <a:gd name="T0" fmla="*/ 0 w 57"/>
                <a:gd name="T1" fmla="*/ 90 h 90"/>
                <a:gd name="T2" fmla="*/ 0 w 57"/>
                <a:gd name="T3" fmla="*/ 26 h 90"/>
                <a:gd name="T4" fmla="*/ 57 w 57"/>
                <a:gd name="T5" fmla="*/ 0 h 90"/>
                <a:gd name="T6" fmla="*/ 57 w 57"/>
                <a:gd name="T7" fmla="*/ 6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0">
                  <a:moveTo>
                    <a:pt x="0" y="90"/>
                  </a:moveTo>
                  <a:lnTo>
                    <a:pt x="0" y="26"/>
                  </a:lnTo>
                  <a:lnTo>
                    <a:pt x="57" y="0"/>
                  </a:lnTo>
                  <a:lnTo>
                    <a:pt x="57" y="62"/>
                  </a:lnTo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0" name="Freeform 298">
              <a:extLst>
                <a:ext uri="{FF2B5EF4-FFF2-40B4-BE49-F238E27FC236}">
                  <a16:creationId xmlns:a16="http://schemas.microsoft.com/office/drawing/2014/main" id="{5C3B6429-F8F0-A67D-4B61-5E9DF5CAD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38" y="2895601"/>
              <a:ext cx="285750" cy="346075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1" name="Line 299">
              <a:extLst>
                <a:ext uri="{FF2B5EF4-FFF2-40B4-BE49-F238E27FC236}">
                  <a16:creationId xmlns:a16="http://schemas.microsoft.com/office/drawing/2014/main" id="{F0A688A3-C75C-7855-7F5F-B5D3C79019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2200" y="2925763"/>
              <a:ext cx="23971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5299E96C-F8A2-9423-A221-150AB8908F15}"/>
              </a:ext>
            </a:extLst>
          </p:cNvPr>
          <p:cNvCxnSpPr/>
          <p:nvPr/>
        </p:nvCxnSpPr>
        <p:spPr>
          <a:xfrm>
            <a:off x="4272449" y="5315783"/>
            <a:ext cx="0" cy="525272"/>
          </a:xfrm>
          <a:prstGeom prst="line">
            <a:avLst/>
          </a:prstGeom>
          <a:ln>
            <a:solidFill>
              <a:srgbClr val="1DB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5" name="Slide Number Placeholder 4">
            <a:extLst>
              <a:ext uri="{FF2B5EF4-FFF2-40B4-BE49-F238E27FC236}">
                <a16:creationId xmlns:a16="http://schemas.microsoft.com/office/drawing/2014/main" id="{5CA130BB-4BBB-5DA4-96B0-88C5D390A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4553" y="6400800"/>
            <a:ext cx="587058" cy="365125"/>
          </a:xfrm>
        </p:spPr>
        <p:txBody>
          <a:bodyPr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2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DBC168-5E83-5A26-1807-D17A43DDA94D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4" name="Rectangle 80">
              <a:extLst>
                <a:ext uri="{FF2B5EF4-FFF2-40B4-BE49-F238E27FC236}">
                  <a16:creationId xmlns:a16="http://schemas.microsoft.com/office/drawing/2014/main" id="{3F517093-719C-FCD0-64BC-E827197D9E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" name="Rectangle 81">
              <a:extLst>
                <a:ext uri="{FF2B5EF4-FFF2-40B4-BE49-F238E27FC236}">
                  <a16:creationId xmlns:a16="http://schemas.microsoft.com/office/drawing/2014/main" id="{F23C2109-496B-3C7B-5FE8-EDC05FBE8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" name="Rectangle 82">
              <a:extLst>
                <a:ext uri="{FF2B5EF4-FFF2-40B4-BE49-F238E27FC236}">
                  <a16:creationId xmlns:a16="http://schemas.microsoft.com/office/drawing/2014/main" id="{700C700D-F062-129E-AA5C-1B58359034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Rectangle 83">
              <a:extLst>
                <a:ext uri="{FF2B5EF4-FFF2-40B4-BE49-F238E27FC236}">
                  <a16:creationId xmlns:a16="http://schemas.microsoft.com/office/drawing/2014/main" id="{138246D0-38CB-78DF-4534-BDF97510D6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Rectangle 84">
              <a:extLst>
                <a:ext uri="{FF2B5EF4-FFF2-40B4-BE49-F238E27FC236}">
                  <a16:creationId xmlns:a16="http://schemas.microsoft.com/office/drawing/2014/main" id="{B85A494E-E948-3963-AB4A-3D367E28AE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Rectangle 85">
              <a:extLst>
                <a:ext uri="{FF2B5EF4-FFF2-40B4-BE49-F238E27FC236}">
                  <a16:creationId xmlns:a16="http://schemas.microsoft.com/office/drawing/2014/main" id="{C5E7F8FF-6801-F903-4275-FB0B3ADE8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AA5F4C1-6854-6EFD-0287-47B9D96286A2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" name="Freeform 244">
              <a:extLst>
                <a:ext uri="{FF2B5EF4-FFF2-40B4-BE49-F238E27FC236}">
                  <a16:creationId xmlns:a16="http://schemas.microsoft.com/office/drawing/2014/main" id="{62450758-B742-BA79-23E4-0B203CD99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245">
              <a:extLst>
                <a:ext uri="{FF2B5EF4-FFF2-40B4-BE49-F238E27FC236}">
                  <a16:creationId xmlns:a16="http://schemas.microsoft.com/office/drawing/2014/main" id="{58631A26-131D-7C70-EDF6-EA521F258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246">
              <a:extLst>
                <a:ext uri="{FF2B5EF4-FFF2-40B4-BE49-F238E27FC236}">
                  <a16:creationId xmlns:a16="http://schemas.microsoft.com/office/drawing/2014/main" id="{3DEBFC8B-3FDC-7530-CF50-DF9C31A61BA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47">
              <a:extLst>
                <a:ext uri="{FF2B5EF4-FFF2-40B4-BE49-F238E27FC236}">
                  <a16:creationId xmlns:a16="http://schemas.microsoft.com/office/drawing/2014/main" id="{5FE694CB-AE53-513D-ADC8-90EC7E53D6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248">
              <a:extLst>
                <a:ext uri="{FF2B5EF4-FFF2-40B4-BE49-F238E27FC236}">
                  <a16:creationId xmlns:a16="http://schemas.microsoft.com/office/drawing/2014/main" id="{D95AD3C5-0A1E-88BF-6E1D-A3C6F6F795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249">
              <a:extLst>
                <a:ext uri="{FF2B5EF4-FFF2-40B4-BE49-F238E27FC236}">
                  <a16:creationId xmlns:a16="http://schemas.microsoft.com/office/drawing/2014/main" id="{812C467B-D6E3-3FA7-7631-DB7A27C6B6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250">
              <a:extLst>
                <a:ext uri="{FF2B5EF4-FFF2-40B4-BE49-F238E27FC236}">
                  <a16:creationId xmlns:a16="http://schemas.microsoft.com/office/drawing/2014/main" id="{85BAEBBD-033D-3567-7BB4-5F71F73650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Line 251">
              <a:extLst>
                <a:ext uri="{FF2B5EF4-FFF2-40B4-BE49-F238E27FC236}">
                  <a16:creationId xmlns:a16="http://schemas.microsoft.com/office/drawing/2014/main" id="{8D82D04A-54B5-64CB-386F-887695F0B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252">
              <a:extLst>
                <a:ext uri="{FF2B5EF4-FFF2-40B4-BE49-F238E27FC236}">
                  <a16:creationId xmlns:a16="http://schemas.microsoft.com/office/drawing/2014/main" id="{5555F6CC-E2A4-D4C1-9D99-C135295516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B49F864-FA2A-B398-5A4B-65617545E187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 Finding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45A61D0-A27C-4E86-3267-C3B0918F40E6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commendation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000B6E-D9A7-1992-7074-0A9F4E5E0690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Shape&#10;&#10;Description automatically generated with low confidence">
            <a:extLst>
              <a:ext uri="{FF2B5EF4-FFF2-40B4-BE49-F238E27FC236}">
                <a16:creationId xmlns:a16="http://schemas.microsoft.com/office/drawing/2014/main" id="{F9CB26A2-81BA-13AE-6037-6D6265AD14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FA19AFC9-8D32-6F44-AA35-BEE365976E37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A8CD8985-5995-8805-ACBA-A48504122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FCFD9422-F292-0758-D487-222DFCCD3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7">
              <a:extLst>
                <a:ext uri="{FF2B5EF4-FFF2-40B4-BE49-F238E27FC236}">
                  <a16:creationId xmlns:a16="http://schemas.microsoft.com/office/drawing/2014/main" id="{61F4F144-9033-5689-461E-27BAD6D3C6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Line 8">
              <a:extLst>
                <a:ext uri="{FF2B5EF4-FFF2-40B4-BE49-F238E27FC236}">
                  <a16:creationId xmlns:a16="http://schemas.microsoft.com/office/drawing/2014/main" id="{731921E5-FD5A-4651-F307-465B96879C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9">
              <a:extLst>
                <a:ext uri="{FF2B5EF4-FFF2-40B4-BE49-F238E27FC236}">
                  <a16:creationId xmlns:a16="http://schemas.microsoft.com/office/drawing/2014/main" id="{3C4799AC-06C5-09DF-0E70-C1FB5F864C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10">
              <a:extLst>
                <a:ext uri="{FF2B5EF4-FFF2-40B4-BE49-F238E27FC236}">
                  <a16:creationId xmlns:a16="http://schemas.microsoft.com/office/drawing/2014/main" id="{EB67643F-FDA8-A9C5-78B3-F7A7F5FF72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11">
              <a:extLst>
                <a:ext uri="{FF2B5EF4-FFF2-40B4-BE49-F238E27FC236}">
                  <a16:creationId xmlns:a16="http://schemas.microsoft.com/office/drawing/2014/main" id="{5EF0C685-70F9-A239-7E3F-53C8CD64B4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12">
              <a:extLst>
                <a:ext uri="{FF2B5EF4-FFF2-40B4-BE49-F238E27FC236}">
                  <a16:creationId xmlns:a16="http://schemas.microsoft.com/office/drawing/2014/main" id="{ABBE0E40-D842-52D6-96E0-131AAF3473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Line 13">
              <a:extLst>
                <a:ext uri="{FF2B5EF4-FFF2-40B4-BE49-F238E27FC236}">
                  <a16:creationId xmlns:a16="http://schemas.microsoft.com/office/drawing/2014/main" id="{E7CA93C4-6E96-BE20-E82C-A36045893D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14">
              <a:extLst>
                <a:ext uri="{FF2B5EF4-FFF2-40B4-BE49-F238E27FC236}">
                  <a16:creationId xmlns:a16="http://schemas.microsoft.com/office/drawing/2014/main" id="{56D3F7A9-6399-C042-04A0-7C20A02C0B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Line 15">
              <a:extLst>
                <a:ext uri="{FF2B5EF4-FFF2-40B4-BE49-F238E27FC236}">
                  <a16:creationId xmlns:a16="http://schemas.microsoft.com/office/drawing/2014/main" id="{0AA18E9C-7DD2-A291-DE29-659225C9D8A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16">
              <a:extLst>
                <a:ext uri="{FF2B5EF4-FFF2-40B4-BE49-F238E27FC236}">
                  <a16:creationId xmlns:a16="http://schemas.microsoft.com/office/drawing/2014/main" id="{39DE6B94-804A-F747-DBF5-88111506B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6" name="Line 17">
              <a:extLst>
                <a:ext uri="{FF2B5EF4-FFF2-40B4-BE49-F238E27FC236}">
                  <a16:creationId xmlns:a16="http://schemas.microsoft.com/office/drawing/2014/main" id="{5989A85C-C5C4-CCF2-3519-0EAC6CBBD9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32" name="TextBox 1031">
            <a:extLst>
              <a:ext uri="{FF2B5EF4-FFF2-40B4-BE49-F238E27FC236}">
                <a16:creationId xmlns:a16="http://schemas.microsoft.com/office/drawing/2014/main" id="{3AD0C471-6548-0BFD-CA07-294965E4E7C2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-Suggestions</a:t>
            </a:r>
          </a:p>
        </p:txBody>
      </p:sp>
      <p:sp>
        <p:nvSpPr>
          <p:cNvPr id="1043" name="TextBox 1042">
            <a:extLst>
              <a:ext uri="{FF2B5EF4-FFF2-40B4-BE49-F238E27FC236}">
                <a16:creationId xmlns:a16="http://schemas.microsoft.com/office/drawing/2014/main" id="{74FF25D1-9C7F-1C6F-B359-8B986150EDAA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clusion</a:t>
            </a:r>
          </a:p>
        </p:txBody>
      </p: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8C468BC8-8E50-7814-3BAF-BBDF0078CB61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1048" name="Freeform 197">
              <a:extLst>
                <a:ext uri="{FF2B5EF4-FFF2-40B4-BE49-F238E27FC236}">
                  <a16:creationId xmlns:a16="http://schemas.microsoft.com/office/drawing/2014/main" id="{AED95390-B28C-785A-C767-5242A176A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9" name="Freeform 198">
              <a:extLst>
                <a:ext uri="{FF2B5EF4-FFF2-40B4-BE49-F238E27FC236}">
                  <a16:creationId xmlns:a16="http://schemas.microsoft.com/office/drawing/2014/main" id="{8AB72C4B-5001-D281-3BAF-943042968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199">
              <a:extLst>
                <a:ext uri="{FF2B5EF4-FFF2-40B4-BE49-F238E27FC236}">
                  <a16:creationId xmlns:a16="http://schemas.microsoft.com/office/drawing/2014/main" id="{43021DA6-4BCF-D690-0476-9F7551FF06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Freeform 200">
              <a:extLst>
                <a:ext uri="{FF2B5EF4-FFF2-40B4-BE49-F238E27FC236}">
                  <a16:creationId xmlns:a16="http://schemas.microsoft.com/office/drawing/2014/main" id="{3838B541-D4E0-568F-2509-3E9629691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Freeform 201">
              <a:extLst>
                <a:ext uri="{FF2B5EF4-FFF2-40B4-BE49-F238E27FC236}">
                  <a16:creationId xmlns:a16="http://schemas.microsoft.com/office/drawing/2014/main" id="{3EA1A5AD-FA24-36B5-7F79-EFF6733B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53" name="Group 1052">
            <a:extLst>
              <a:ext uri="{FF2B5EF4-FFF2-40B4-BE49-F238E27FC236}">
                <a16:creationId xmlns:a16="http://schemas.microsoft.com/office/drawing/2014/main" id="{68418050-7D1D-3CEF-10BB-7D6E6CCEBE0F}"/>
              </a:ext>
            </a:extLst>
          </p:cNvPr>
          <p:cNvGrpSpPr/>
          <p:nvPr/>
        </p:nvGrpSpPr>
        <p:grpSpPr>
          <a:xfrm>
            <a:off x="605112" y="4785042"/>
            <a:ext cx="225423" cy="260013"/>
            <a:chOff x="5581651" y="2895601"/>
            <a:chExt cx="300038" cy="346076"/>
          </a:xfrm>
        </p:grpSpPr>
        <p:sp>
          <p:nvSpPr>
            <p:cNvPr id="1054" name="Oval 187">
              <a:extLst>
                <a:ext uri="{FF2B5EF4-FFF2-40B4-BE49-F238E27FC236}">
                  <a16:creationId xmlns:a16="http://schemas.microsoft.com/office/drawing/2014/main" id="{7D48A757-82DF-88FB-211F-6BC979033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5" name="Oval 188">
              <a:extLst>
                <a:ext uri="{FF2B5EF4-FFF2-40B4-BE49-F238E27FC236}">
                  <a16:creationId xmlns:a16="http://schemas.microsoft.com/office/drawing/2014/main" id="{23B0E393-8B1A-CED4-43DD-8272BDAFD7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6" name="Oval 189">
              <a:extLst>
                <a:ext uri="{FF2B5EF4-FFF2-40B4-BE49-F238E27FC236}">
                  <a16:creationId xmlns:a16="http://schemas.microsoft.com/office/drawing/2014/main" id="{5701FB16-F8EE-6283-4CD0-01363F2647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7" name="Freeform 190">
              <a:extLst>
                <a:ext uri="{FF2B5EF4-FFF2-40B4-BE49-F238E27FC236}">
                  <a16:creationId xmlns:a16="http://schemas.microsoft.com/office/drawing/2014/main" id="{AC453D95-C011-C689-99ED-5E6CE9385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8" name="Freeform 191">
              <a:extLst>
                <a:ext uri="{FF2B5EF4-FFF2-40B4-BE49-F238E27FC236}">
                  <a16:creationId xmlns:a16="http://schemas.microsoft.com/office/drawing/2014/main" id="{21D04144-1BB1-AC42-5DA6-D1EC0A27EC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9" name="Freeform 192">
              <a:extLst>
                <a:ext uri="{FF2B5EF4-FFF2-40B4-BE49-F238E27FC236}">
                  <a16:creationId xmlns:a16="http://schemas.microsoft.com/office/drawing/2014/main" id="{134AF8E5-D5F6-94EC-F5A4-2003F410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5" name="Graphic 24" descr="Badge Question Mark outline">
            <a:extLst>
              <a:ext uri="{FF2B5EF4-FFF2-40B4-BE49-F238E27FC236}">
                <a16:creationId xmlns:a16="http://schemas.microsoft.com/office/drawing/2014/main" id="{F42B7863-B6C2-81AF-4B61-32B4B53C2B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27" name="Graphic 26" descr="Customer review outline">
            <a:extLst>
              <a:ext uri="{FF2B5EF4-FFF2-40B4-BE49-F238E27FC236}">
                <a16:creationId xmlns:a16="http://schemas.microsoft.com/office/drawing/2014/main" id="{9E441735-64FC-E2D3-778C-4784AF24B2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26" name="Rectangle 2">
            <a:extLst>
              <a:ext uri="{FF2B5EF4-FFF2-40B4-BE49-F238E27FC236}">
                <a16:creationId xmlns:a16="http://schemas.microsoft.com/office/drawing/2014/main" id="{C861D240-29ED-F9B9-BAC3-1E76650F9A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57835"/>
            <a:ext cx="24878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61" name="TextBox 1060">
            <a:extLst>
              <a:ext uri="{FF2B5EF4-FFF2-40B4-BE49-F238E27FC236}">
                <a16:creationId xmlns:a16="http://schemas.microsoft.com/office/drawing/2014/main" id="{EDE1C129-9A2F-CF76-E1DC-D301FCE0E280}"/>
              </a:ext>
            </a:extLst>
          </p:cNvPr>
          <p:cNvSpPr txBox="1"/>
          <p:nvPr/>
        </p:nvSpPr>
        <p:spPr>
          <a:xfrm>
            <a:off x="4295915" y="5244045"/>
            <a:ext cx="369529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</a:rPr>
              <a:t>A top music streaming service offering millions of songs and podcasts for personalized listening on any device.</a:t>
            </a:r>
            <a:endParaRPr lang="en-IN" sz="16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0873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icture containing text, surfing, spring&#10;&#10;Description automatically generated">
            <a:extLst>
              <a:ext uri="{FF2B5EF4-FFF2-40B4-BE49-F238E27FC236}">
                <a16:creationId xmlns:a16="http://schemas.microsoft.com/office/drawing/2014/main" id="{B4D92969-1CDE-337B-0E9E-D01AA3534CF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28685" y="1322985"/>
            <a:ext cx="2471469" cy="4985739"/>
          </a:xfrm>
          <a:custGeom>
            <a:avLst/>
            <a:gdLst>
              <a:gd name="connsiteX0" fmla="*/ 190587 w 2572724"/>
              <a:gd name="connsiteY0" fmla="*/ 0 h 4985739"/>
              <a:gd name="connsiteX1" fmla="*/ 2382137 w 2572724"/>
              <a:gd name="connsiteY1" fmla="*/ 0 h 4985739"/>
              <a:gd name="connsiteX2" fmla="*/ 2572724 w 2572724"/>
              <a:gd name="connsiteY2" fmla="*/ 190587 h 4985739"/>
              <a:gd name="connsiteX3" fmla="*/ 2572724 w 2572724"/>
              <a:gd name="connsiteY3" fmla="*/ 4795152 h 4985739"/>
              <a:gd name="connsiteX4" fmla="*/ 2382137 w 2572724"/>
              <a:gd name="connsiteY4" fmla="*/ 4985739 h 4985739"/>
              <a:gd name="connsiteX5" fmla="*/ 190587 w 2572724"/>
              <a:gd name="connsiteY5" fmla="*/ 4985739 h 4985739"/>
              <a:gd name="connsiteX6" fmla="*/ 0 w 2572724"/>
              <a:gd name="connsiteY6" fmla="*/ 4795152 h 4985739"/>
              <a:gd name="connsiteX7" fmla="*/ 0 w 2572724"/>
              <a:gd name="connsiteY7" fmla="*/ 190587 h 4985739"/>
              <a:gd name="connsiteX8" fmla="*/ 190587 w 2572724"/>
              <a:gd name="connsiteY8" fmla="*/ 0 h 4985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72724" h="4985739">
                <a:moveTo>
                  <a:pt x="190587" y="0"/>
                </a:moveTo>
                <a:lnTo>
                  <a:pt x="2382137" y="0"/>
                </a:lnTo>
                <a:cubicBezTo>
                  <a:pt x="2487395" y="0"/>
                  <a:pt x="2572724" y="85329"/>
                  <a:pt x="2572724" y="190587"/>
                </a:cubicBezTo>
                <a:lnTo>
                  <a:pt x="2572724" y="4795152"/>
                </a:lnTo>
                <a:cubicBezTo>
                  <a:pt x="2572724" y="4900410"/>
                  <a:pt x="2487395" y="4985739"/>
                  <a:pt x="2382137" y="4985739"/>
                </a:cubicBezTo>
                <a:lnTo>
                  <a:pt x="190587" y="4985739"/>
                </a:lnTo>
                <a:cubicBezTo>
                  <a:pt x="85329" y="4985739"/>
                  <a:pt x="0" y="4900410"/>
                  <a:pt x="0" y="4795152"/>
                </a:cubicBezTo>
                <a:lnTo>
                  <a:pt x="0" y="190587"/>
                </a:lnTo>
                <a:cubicBezTo>
                  <a:pt x="0" y="85329"/>
                  <a:pt x="85329" y="0"/>
                  <a:pt x="190587" y="0"/>
                </a:cubicBezTo>
                <a:close/>
              </a:path>
            </a:pathLst>
          </a:custGeom>
          <a:effectLst>
            <a:outerShdw blurRad="1524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309892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bum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0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622921" y="403668"/>
            <a:ext cx="9699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otif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46B618-2CF9-7941-4EA2-0BAE302EE4D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Alb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360DE8-31EE-FAA3-E777-47004567BD15}"/>
              </a:ext>
            </a:extLst>
          </p:cNvPr>
          <p:cNvSpPr txBox="1"/>
          <p:nvPr/>
        </p:nvSpPr>
        <p:spPr>
          <a:xfrm>
            <a:off x="383220" y="2364941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ylis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F45DBD-39B5-8EEA-4A17-0E22C21E483A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 Finding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D8B386-F8F1-A598-25C0-8F33F16B23D7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commendation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: Top Corners Rounded 59">
            <a:extLst>
              <a:ext uri="{FF2B5EF4-FFF2-40B4-BE49-F238E27FC236}">
                <a16:creationId xmlns:a16="http://schemas.microsoft.com/office/drawing/2014/main" id="{A8B32FA7-9DD5-84FD-B013-2AC801BA3D78}"/>
              </a:ext>
            </a:extLst>
          </p:cNvPr>
          <p:cNvSpPr/>
          <p:nvPr/>
        </p:nvSpPr>
        <p:spPr>
          <a:xfrm>
            <a:off x="11079126" y="6308725"/>
            <a:ext cx="777912" cy="549275"/>
          </a:xfrm>
          <a:prstGeom prst="round2SameRect">
            <a:avLst/>
          </a:prstGeom>
          <a:solidFill>
            <a:srgbClr val="1DB9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5" name="Slide Number Placeholder 4">
            <a:extLst>
              <a:ext uri="{FF2B5EF4-FFF2-40B4-BE49-F238E27FC236}">
                <a16:creationId xmlns:a16="http://schemas.microsoft.com/office/drawing/2014/main" id="{5CA130BB-4BBB-5DA4-96B0-88C5D390A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4553" y="6400800"/>
            <a:ext cx="587058" cy="365125"/>
          </a:xfrm>
        </p:spPr>
        <p:txBody>
          <a:bodyPr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7D8155-ABD6-F7A4-7BD8-AE4C6523263F}"/>
              </a:ext>
            </a:extLst>
          </p:cNvPr>
          <p:cNvSpPr txBox="1"/>
          <p:nvPr/>
        </p:nvSpPr>
        <p:spPr>
          <a:xfrm>
            <a:off x="383220" y="132298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out U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80D697D-48F2-D00D-AF36-07567C4699BB}"/>
              </a:ext>
            </a:extLst>
          </p:cNvPr>
          <p:cNvSpPr/>
          <p:nvPr/>
        </p:nvSpPr>
        <p:spPr>
          <a:xfrm>
            <a:off x="3428685" y="1322984"/>
            <a:ext cx="2472003" cy="4985741"/>
          </a:xfrm>
          <a:prstGeom prst="roundRect">
            <a:avLst>
              <a:gd name="adj" fmla="val 7408"/>
            </a:avLst>
          </a:prstGeom>
          <a:gradFill flip="none" rotWithShape="1">
            <a:gsLst>
              <a:gs pos="22000">
                <a:srgbClr val="0A0A0B"/>
              </a:gs>
              <a:gs pos="43000">
                <a:srgbClr val="0A0A0B">
                  <a:alpha val="85000"/>
                </a:srgbClr>
              </a:gs>
              <a:gs pos="100000">
                <a:srgbClr val="0C0D0E">
                  <a:alpha val="13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C737F6-CB45-C186-69B0-A4C0CE4E37F6}"/>
              </a:ext>
            </a:extLst>
          </p:cNvPr>
          <p:cNvSpPr txBox="1"/>
          <p:nvPr/>
        </p:nvSpPr>
        <p:spPr>
          <a:xfrm>
            <a:off x="9171464" y="2007471"/>
            <a:ext cx="2718118" cy="7105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rated Recommendations</a:t>
            </a:r>
          </a:p>
        </p:txBody>
      </p:sp>
      <p:sp>
        <p:nvSpPr>
          <p:cNvPr id="41" name="Heart 40">
            <a:extLst>
              <a:ext uri="{FF2B5EF4-FFF2-40B4-BE49-F238E27FC236}">
                <a16:creationId xmlns:a16="http://schemas.microsoft.com/office/drawing/2014/main" id="{8D40B542-B96D-DDA7-C265-DF105A2A5899}"/>
              </a:ext>
            </a:extLst>
          </p:cNvPr>
          <p:cNvSpPr/>
          <p:nvPr/>
        </p:nvSpPr>
        <p:spPr>
          <a:xfrm>
            <a:off x="5718394" y="1462321"/>
            <a:ext cx="156833" cy="156833"/>
          </a:xfrm>
          <a:prstGeom prst="heart">
            <a:avLst/>
          </a:prstGeom>
          <a:solidFill>
            <a:srgbClr val="1DB954"/>
          </a:solidFill>
          <a:ln>
            <a:noFill/>
          </a:ln>
          <a:effectLst>
            <a:outerShdw blurRad="1016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EA7D9D34-B12F-2B89-D408-119E1BA4A2DC}"/>
              </a:ext>
            </a:extLst>
          </p:cNvPr>
          <p:cNvGrpSpPr/>
          <p:nvPr/>
        </p:nvGrpSpPr>
        <p:grpSpPr>
          <a:xfrm>
            <a:off x="4000344" y="4047954"/>
            <a:ext cx="1429407" cy="520978"/>
            <a:chOff x="4000344" y="4144625"/>
            <a:chExt cx="1429407" cy="520978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4A3BA111-6A9E-31B2-759E-EC6D476B2BFA}"/>
                </a:ext>
              </a:extLst>
            </p:cNvPr>
            <p:cNvSpPr/>
            <p:nvPr/>
          </p:nvSpPr>
          <p:spPr>
            <a:xfrm>
              <a:off x="4000344" y="4144625"/>
              <a:ext cx="1429407" cy="520978"/>
            </a:xfrm>
            <a:prstGeom prst="roundRect">
              <a:avLst>
                <a:gd name="adj" fmla="val 50000"/>
              </a:avLst>
            </a:prstGeom>
            <a:solidFill>
              <a:srgbClr val="1DB954"/>
            </a:solidFill>
            <a:ln>
              <a:noFill/>
            </a:ln>
            <a:effectLst>
              <a:outerShdw blurRad="190500" dist="38100" dir="5400000" algn="t" rotWithShape="0">
                <a:srgbClr val="1DB954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List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FDFCF0A3-FF00-E3A9-B7E0-DD4D64393EEB}"/>
                </a:ext>
              </a:extLst>
            </p:cNvPr>
            <p:cNvGrpSpPr/>
            <p:nvPr/>
          </p:nvGrpSpPr>
          <p:grpSpPr>
            <a:xfrm>
              <a:off x="4168775" y="4326888"/>
              <a:ext cx="176284" cy="156452"/>
              <a:chOff x="3444875" y="1855788"/>
              <a:chExt cx="254000" cy="225425"/>
            </a:xfrm>
          </p:grpSpPr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25799ACB-59FB-FFC0-4CF0-215E4431AE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855788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A0668070-7FAE-2B0B-7E6B-877981EDF4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1946275"/>
                <a:ext cx="254000" cy="46038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88D28B9E-0070-85C7-65DD-EA6A16D48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2036763"/>
                <a:ext cx="254000" cy="44450"/>
              </a:xfrm>
              <a:prstGeom prst="rect">
                <a:avLst/>
              </a:pr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12" name="Group 1111">
            <a:extLst>
              <a:ext uri="{FF2B5EF4-FFF2-40B4-BE49-F238E27FC236}">
                <a16:creationId xmlns:a16="http://schemas.microsoft.com/office/drawing/2014/main" id="{D02657D2-573B-8266-A127-2A094A939DB4}"/>
              </a:ext>
            </a:extLst>
          </p:cNvPr>
          <p:cNvGrpSpPr/>
          <p:nvPr/>
        </p:nvGrpSpPr>
        <p:grpSpPr>
          <a:xfrm>
            <a:off x="3546518" y="4801195"/>
            <a:ext cx="2454891" cy="1371936"/>
            <a:chOff x="3546518" y="4801195"/>
            <a:chExt cx="2454891" cy="1371936"/>
          </a:xfrm>
        </p:grpSpPr>
        <p:grpSp>
          <p:nvGrpSpPr>
            <p:cNvPr id="1055" name="Group 1054">
              <a:extLst>
                <a:ext uri="{FF2B5EF4-FFF2-40B4-BE49-F238E27FC236}">
                  <a16:creationId xmlns:a16="http://schemas.microsoft.com/office/drawing/2014/main" id="{F6C9F5F8-79A8-CBBA-8FA2-360F6253812D}"/>
                </a:ext>
              </a:extLst>
            </p:cNvPr>
            <p:cNvGrpSpPr/>
            <p:nvPr/>
          </p:nvGrpSpPr>
          <p:grpSpPr>
            <a:xfrm>
              <a:off x="3546518" y="4868353"/>
              <a:ext cx="231533" cy="232600"/>
              <a:chOff x="7005638" y="5643563"/>
              <a:chExt cx="344488" cy="346075"/>
            </a:xfrm>
            <a:effectLst>
              <a:outerShdw blurRad="152400" sx="102000" sy="102000" algn="ctr" rotWithShape="0">
                <a:srgbClr val="1DB954">
                  <a:alpha val="40000"/>
                </a:srgbClr>
              </a:outerShdw>
            </a:effectLst>
          </p:grpSpPr>
          <p:sp>
            <p:nvSpPr>
              <p:cNvPr id="1057" name="Oval 297">
                <a:extLst>
                  <a:ext uri="{FF2B5EF4-FFF2-40B4-BE49-F238E27FC236}">
                    <a16:creationId xmlns:a16="http://schemas.microsoft.com/office/drawing/2014/main" id="{0F2D8CDC-016C-A9D5-C095-E8A8784284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05638" y="5643563"/>
                <a:ext cx="344488" cy="346075"/>
              </a:xfrm>
              <a:prstGeom prst="ellipse">
                <a:avLst/>
              </a:prstGeom>
              <a:solidFill>
                <a:srgbClr val="191414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56" name="Freeform 296">
                <a:extLst>
                  <a:ext uri="{FF2B5EF4-FFF2-40B4-BE49-F238E27FC236}">
                    <a16:creationId xmlns:a16="http://schemas.microsoft.com/office/drawing/2014/main" id="{D51E9F72-AAA6-E352-4617-CC2B96AB3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4700" y="5726113"/>
                <a:ext cx="158750" cy="180975"/>
              </a:xfrm>
              <a:custGeom>
                <a:avLst/>
                <a:gdLst>
                  <a:gd name="T0" fmla="*/ 0 w 100"/>
                  <a:gd name="T1" fmla="*/ 114 h 114"/>
                  <a:gd name="T2" fmla="*/ 0 w 100"/>
                  <a:gd name="T3" fmla="*/ 0 h 114"/>
                  <a:gd name="T4" fmla="*/ 100 w 100"/>
                  <a:gd name="T5" fmla="*/ 57 h 114"/>
                  <a:gd name="T6" fmla="*/ 0 w 100"/>
                  <a:gd name="T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114">
                    <a:moveTo>
                      <a:pt x="0" y="114"/>
                    </a:moveTo>
                    <a:lnTo>
                      <a:pt x="0" y="0"/>
                    </a:lnTo>
                    <a:lnTo>
                      <a:pt x="100" y="57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rgbClr val="FFFFFF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058" name="TextBox 1057">
              <a:extLst>
                <a:ext uri="{FF2B5EF4-FFF2-40B4-BE49-F238E27FC236}">
                  <a16:creationId xmlns:a16="http://schemas.microsoft.com/office/drawing/2014/main" id="{EBE03D50-5217-31FF-082B-0B719351C3AE}"/>
                </a:ext>
              </a:extLst>
            </p:cNvPr>
            <p:cNvSpPr txBox="1"/>
            <p:nvPr/>
          </p:nvSpPr>
          <p:spPr>
            <a:xfrm>
              <a:off x="3911963" y="4801195"/>
              <a:ext cx="2089446" cy="3669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hape of You</a:t>
              </a:r>
            </a:p>
          </p:txBody>
        </p:sp>
        <p:grpSp>
          <p:nvGrpSpPr>
            <p:cNvPr id="1064" name="Group 1063">
              <a:extLst>
                <a:ext uri="{FF2B5EF4-FFF2-40B4-BE49-F238E27FC236}">
                  <a16:creationId xmlns:a16="http://schemas.microsoft.com/office/drawing/2014/main" id="{74E25C68-7588-AB3D-FA99-DED31C242691}"/>
                </a:ext>
              </a:extLst>
            </p:cNvPr>
            <p:cNvGrpSpPr/>
            <p:nvPr/>
          </p:nvGrpSpPr>
          <p:grpSpPr>
            <a:xfrm>
              <a:off x="5690779" y="4888379"/>
              <a:ext cx="45719" cy="192548"/>
              <a:chOff x="5461044" y="5045352"/>
              <a:chExt cx="55229" cy="232600"/>
            </a:xfrm>
          </p:grpSpPr>
          <p:sp>
            <p:nvSpPr>
              <p:cNvPr id="1060" name="Oval 297">
                <a:extLst>
                  <a:ext uri="{FF2B5EF4-FFF2-40B4-BE49-F238E27FC236}">
                    <a16:creationId xmlns:a16="http://schemas.microsoft.com/office/drawing/2014/main" id="{E417C4CE-D16D-0052-0D9E-A37490F9DD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1044" y="5045352"/>
                <a:ext cx="55229" cy="55483"/>
              </a:xfrm>
              <a:prstGeom prst="ellipse">
                <a:avLst/>
              </a:prstGeom>
              <a:solidFill>
                <a:schemeClr val="bg1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62" name="Oval 297">
                <a:extLst>
                  <a:ext uri="{FF2B5EF4-FFF2-40B4-BE49-F238E27FC236}">
                    <a16:creationId xmlns:a16="http://schemas.microsoft.com/office/drawing/2014/main" id="{E792E875-7761-B94C-ACC3-B0C21E221C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1044" y="5133911"/>
                <a:ext cx="55229" cy="55483"/>
              </a:xfrm>
              <a:prstGeom prst="ellipse">
                <a:avLst/>
              </a:prstGeom>
              <a:solidFill>
                <a:schemeClr val="bg1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63" name="Oval 297">
                <a:extLst>
                  <a:ext uri="{FF2B5EF4-FFF2-40B4-BE49-F238E27FC236}">
                    <a16:creationId xmlns:a16="http://schemas.microsoft.com/office/drawing/2014/main" id="{8CA6AE95-4634-B0BD-85EA-4882D67EF5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1044" y="5222469"/>
                <a:ext cx="55229" cy="55483"/>
              </a:xfrm>
              <a:prstGeom prst="ellipse">
                <a:avLst/>
              </a:prstGeom>
              <a:solidFill>
                <a:schemeClr val="bg1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065" name="Group 1064">
              <a:extLst>
                <a:ext uri="{FF2B5EF4-FFF2-40B4-BE49-F238E27FC236}">
                  <a16:creationId xmlns:a16="http://schemas.microsoft.com/office/drawing/2014/main" id="{51404DEC-E33C-9FE3-BB28-CE2A4F66D063}"/>
                </a:ext>
              </a:extLst>
            </p:cNvPr>
            <p:cNvGrpSpPr/>
            <p:nvPr/>
          </p:nvGrpSpPr>
          <p:grpSpPr>
            <a:xfrm>
              <a:off x="3546518" y="5370862"/>
              <a:ext cx="231533" cy="232600"/>
              <a:chOff x="7005638" y="5643563"/>
              <a:chExt cx="344488" cy="346075"/>
            </a:xfrm>
            <a:effectLst>
              <a:outerShdw blurRad="152400" sx="102000" sy="102000" algn="ctr" rotWithShape="0">
                <a:srgbClr val="1DB954">
                  <a:alpha val="40000"/>
                </a:srgbClr>
              </a:outerShdw>
            </a:effectLst>
          </p:grpSpPr>
          <p:sp>
            <p:nvSpPr>
              <p:cNvPr id="1066" name="Oval 297">
                <a:extLst>
                  <a:ext uri="{FF2B5EF4-FFF2-40B4-BE49-F238E27FC236}">
                    <a16:creationId xmlns:a16="http://schemas.microsoft.com/office/drawing/2014/main" id="{7D286B0D-57A8-43F4-C47A-5BA56AB040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05638" y="5643563"/>
                <a:ext cx="344488" cy="346075"/>
              </a:xfrm>
              <a:prstGeom prst="ellipse">
                <a:avLst/>
              </a:prstGeom>
              <a:solidFill>
                <a:srgbClr val="191414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67" name="Freeform 296">
                <a:extLst>
                  <a:ext uri="{FF2B5EF4-FFF2-40B4-BE49-F238E27FC236}">
                    <a16:creationId xmlns:a16="http://schemas.microsoft.com/office/drawing/2014/main" id="{FC0C42E5-7AB9-4F23-DB33-DEC5137B2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4700" y="5726113"/>
                <a:ext cx="158750" cy="180975"/>
              </a:xfrm>
              <a:custGeom>
                <a:avLst/>
                <a:gdLst>
                  <a:gd name="T0" fmla="*/ 0 w 100"/>
                  <a:gd name="T1" fmla="*/ 114 h 114"/>
                  <a:gd name="T2" fmla="*/ 0 w 100"/>
                  <a:gd name="T3" fmla="*/ 0 h 114"/>
                  <a:gd name="T4" fmla="*/ 100 w 100"/>
                  <a:gd name="T5" fmla="*/ 57 h 114"/>
                  <a:gd name="T6" fmla="*/ 0 w 100"/>
                  <a:gd name="T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114">
                    <a:moveTo>
                      <a:pt x="0" y="114"/>
                    </a:moveTo>
                    <a:lnTo>
                      <a:pt x="0" y="0"/>
                    </a:lnTo>
                    <a:lnTo>
                      <a:pt x="100" y="57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rgbClr val="FFFFFF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068" name="TextBox 1067">
              <a:extLst>
                <a:ext uri="{FF2B5EF4-FFF2-40B4-BE49-F238E27FC236}">
                  <a16:creationId xmlns:a16="http://schemas.microsoft.com/office/drawing/2014/main" id="{F886A283-5704-544C-9878-0A245CADD8D3}"/>
                </a:ext>
              </a:extLst>
            </p:cNvPr>
            <p:cNvSpPr txBox="1"/>
            <p:nvPr/>
          </p:nvSpPr>
          <p:spPr>
            <a:xfrm>
              <a:off x="3911963" y="5303704"/>
              <a:ext cx="2089446" cy="3669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rfect</a:t>
              </a:r>
            </a:p>
          </p:txBody>
        </p:sp>
        <p:grpSp>
          <p:nvGrpSpPr>
            <p:cNvPr id="1069" name="Group 1068">
              <a:extLst>
                <a:ext uri="{FF2B5EF4-FFF2-40B4-BE49-F238E27FC236}">
                  <a16:creationId xmlns:a16="http://schemas.microsoft.com/office/drawing/2014/main" id="{8F1153F9-9B8C-2B9F-D56B-00D5496AB119}"/>
                </a:ext>
              </a:extLst>
            </p:cNvPr>
            <p:cNvGrpSpPr/>
            <p:nvPr/>
          </p:nvGrpSpPr>
          <p:grpSpPr>
            <a:xfrm>
              <a:off x="5690779" y="5390888"/>
              <a:ext cx="45719" cy="192548"/>
              <a:chOff x="5461044" y="5045352"/>
              <a:chExt cx="55229" cy="232600"/>
            </a:xfrm>
          </p:grpSpPr>
          <p:sp>
            <p:nvSpPr>
              <p:cNvPr id="1070" name="Oval 297">
                <a:extLst>
                  <a:ext uri="{FF2B5EF4-FFF2-40B4-BE49-F238E27FC236}">
                    <a16:creationId xmlns:a16="http://schemas.microsoft.com/office/drawing/2014/main" id="{F6683DFB-AD25-75DD-9B46-608F353A48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1044" y="5045352"/>
                <a:ext cx="55229" cy="55483"/>
              </a:xfrm>
              <a:prstGeom prst="ellipse">
                <a:avLst/>
              </a:prstGeom>
              <a:solidFill>
                <a:schemeClr val="bg1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71" name="Oval 297">
                <a:extLst>
                  <a:ext uri="{FF2B5EF4-FFF2-40B4-BE49-F238E27FC236}">
                    <a16:creationId xmlns:a16="http://schemas.microsoft.com/office/drawing/2014/main" id="{11D9B0B8-75AC-0C71-7AA2-961B2CD4B5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1044" y="5133911"/>
                <a:ext cx="55229" cy="55483"/>
              </a:xfrm>
              <a:prstGeom prst="ellipse">
                <a:avLst/>
              </a:prstGeom>
              <a:solidFill>
                <a:schemeClr val="bg1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72" name="Oval 297">
                <a:extLst>
                  <a:ext uri="{FF2B5EF4-FFF2-40B4-BE49-F238E27FC236}">
                    <a16:creationId xmlns:a16="http://schemas.microsoft.com/office/drawing/2014/main" id="{DBFCE208-A652-1393-84DA-8B71E119FD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1044" y="5222469"/>
                <a:ext cx="55229" cy="55483"/>
              </a:xfrm>
              <a:prstGeom prst="ellipse">
                <a:avLst/>
              </a:prstGeom>
              <a:solidFill>
                <a:schemeClr val="bg1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073" name="Group 1072">
              <a:extLst>
                <a:ext uri="{FF2B5EF4-FFF2-40B4-BE49-F238E27FC236}">
                  <a16:creationId xmlns:a16="http://schemas.microsoft.com/office/drawing/2014/main" id="{D69CEE36-3920-8353-1A65-2119014BFAB7}"/>
                </a:ext>
              </a:extLst>
            </p:cNvPr>
            <p:cNvGrpSpPr/>
            <p:nvPr/>
          </p:nvGrpSpPr>
          <p:grpSpPr>
            <a:xfrm>
              <a:off x="3546518" y="5873372"/>
              <a:ext cx="231533" cy="232600"/>
              <a:chOff x="7005638" y="5643563"/>
              <a:chExt cx="344488" cy="346075"/>
            </a:xfrm>
            <a:effectLst>
              <a:outerShdw blurRad="152400" sx="102000" sy="102000" algn="ctr" rotWithShape="0">
                <a:srgbClr val="1DB954">
                  <a:alpha val="40000"/>
                </a:srgbClr>
              </a:outerShdw>
            </a:effectLst>
          </p:grpSpPr>
          <p:sp>
            <p:nvSpPr>
              <p:cNvPr id="1074" name="Oval 297">
                <a:extLst>
                  <a:ext uri="{FF2B5EF4-FFF2-40B4-BE49-F238E27FC236}">
                    <a16:creationId xmlns:a16="http://schemas.microsoft.com/office/drawing/2014/main" id="{64A8A21E-2175-7A0C-56D3-4582C3D9E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05638" y="5643563"/>
                <a:ext cx="344488" cy="346075"/>
              </a:xfrm>
              <a:prstGeom prst="ellipse">
                <a:avLst/>
              </a:prstGeom>
              <a:solidFill>
                <a:srgbClr val="191414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75" name="Freeform 296">
                <a:extLst>
                  <a:ext uri="{FF2B5EF4-FFF2-40B4-BE49-F238E27FC236}">
                    <a16:creationId xmlns:a16="http://schemas.microsoft.com/office/drawing/2014/main" id="{87D03E16-9F61-E54C-31C9-559282D83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4700" y="5726113"/>
                <a:ext cx="158750" cy="180975"/>
              </a:xfrm>
              <a:custGeom>
                <a:avLst/>
                <a:gdLst>
                  <a:gd name="T0" fmla="*/ 0 w 100"/>
                  <a:gd name="T1" fmla="*/ 114 h 114"/>
                  <a:gd name="T2" fmla="*/ 0 w 100"/>
                  <a:gd name="T3" fmla="*/ 0 h 114"/>
                  <a:gd name="T4" fmla="*/ 100 w 100"/>
                  <a:gd name="T5" fmla="*/ 57 h 114"/>
                  <a:gd name="T6" fmla="*/ 0 w 100"/>
                  <a:gd name="T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114">
                    <a:moveTo>
                      <a:pt x="0" y="114"/>
                    </a:moveTo>
                    <a:lnTo>
                      <a:pt x="0" y="0"/>
                    </a:lnTo>
                    <a:lnTo>
                      <a:pt x="100" y="57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rgbClr val="FFFFFF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076" name="TextBox 1075">
              <a:extLst>
                <a:ext uri="{FF2B5EF4-FFF2-40B4-BE49-F238E27FC236}">
                  <a16:creationId xmlns:a16="http://schemas.microsoft.com/office/drawing/2014/main" id="{E772B4A1-EBE6-C10C-FC43-1F0E7DC25C0C}"/>
                </a:ext>
              </a:extLst>
            </p:cNvPr>
            <p:cNvSpPr txBox="1"/>
            <p:nvPr/>
          </p:nvSpPr>
          <p:spPr>
            <a:xfrm>
              <a:off x="3911963" y="5806214"/>
              <a:ext cx="2089446" cy="3669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ew Rules</a:t>
              </a:r>
            </a:p>
          </p:txBody>
        </p:sp>
        <p:grpSp>
          <p:nvGrpSpPr>
            <p:cNvPr id="1077" name="Group 1076">
              <a:extLst>
                <a:ext uri="{FF2B5EF4-FFF2-40B4-BE49-F238E27FC236}">
                  <a16:creationId xmlns:a16="http://schemas.microsoft.com/office/drawing/2014/main" id="{E3BD80E1-E6BC-8FED-9336-5FBA129EDBBB}"/>
                </a:ext>
              </a:extLst>
            </p:cNvPr>
            <p:cNvGrpSpPr/>
            <p:nvPr/>
          </p:nvGrpSpPr>
          <p:grpSpPr>
            <a:xfrm>
              <a:off x="5690779" y="5893398"/>
              <a:ext cx="45719" cy="192548"/>
              <a:chOff x="5461044" y="5045352"/>
              <a:chExt cx="55229" cy="232600"/>
            </a:xfrm>
          </p:grpSpPr>
          <p:sp>
            <p:nvSpPr>
              <p:cNvPr id="1078" name="Oval 297">
                <a:extLst>
                  <a:ext uri="{FF2B5EF4-FFF2-40B4-BE49-F238E27FC236}">
                    <a16:creationId xmlns:a16="http://schemas.microsoft.com/office/drawing/2014/main" id="{962BE622-6F7B-4344-1FC8-F9755D8E00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1044" y="5045352"/>
                <a:ext cx="55229" cy="55483"/>
              </a:xfrm>
              <a:prstGeom prst="ellipse">
                <a:avLst/>
              </a:prstGeom>
              <a:solidFill>
                <a:schemeClr val="bg1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79" name="Oval 297">
                <a:extLst>
                  <a:ext uri="{FF2B5EF4-FFF2-40B4-BE49-F238E27FC236}">
                    <a16:creationId xmlns:a16="http://schemas.microsoft.com/office/drawing/2014/main" id="{D118542C-9814-4D74-DF59-2B8293269D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1044" y="5133911"/>
                <a:ext cx="55229" cy="55483"/>
              </a:xfrm>
              <a:prstGeom prst="ellipse">
                <a:avLst/>
              </a:prstGeom>
              <a:solidFill>
                <a:schemeClr val="bg1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80" name="Oval 297">
                <a:extLst>
                  <a:ext uri="{FF2B5EF4-FFF2-40B4-BE49-F238E27FC236}">
                    <a16:creationId xmlns:a16="http://schemas.microsoft.com/office/drawing/2014/main" id="{C6DD9D52-292D-425B-4643-B62D3115D2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1044" y="5222469"/>
                <a:ext cx="55229" cy="55483"/>
              </a:xfrm>
              <a:prstGeom prst="ellipse">
                <a:avLst/>
              </a:prstGeom>
              <a:solidFill>
                <a:schemeClr val="bg1"/>
              </a:solidFill>
              <a:ln w="14288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B2AE1656-55D2-D024-E4AE-F149C1B88375}"/>
              </a:ext>
            </a:extLst>
          </p:cNvPr>
          <p:cNvGrpSpPr/>
          <p:nvPr/>
        </p:nvGrpSpPr>
        <p:grpSpPr>
          <a:xfrm>
            <a:off x="9171464" y="2984897"/>
            <a:ext cx="638161" cy="417600"/>
            <a:chOff x="9239555" y="2896672"/>
            <a:chExt cx="638161" cy="417600"/>
          </a:xfrm>
        </p:grpSpPr>
        <p:sp>
          <p:nvSpPr>
            <p:cNvPr id="1114" name="Freeform 66">
              <a:extLst>
                <a:ext uri="{FF2B5EF4-FFF2-40B4-BE49-F238E27FC236}">
                  <a16:creationId xmlns:a16="http://schemas.microsoft.com/office/drawing/2014/main" id="{0C3D29D7-FBB8-6948-78E7-A8B468DD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5" name="Freeform 67">
              <a:extLst>
                <a:ext uri="{FF2B5EF4-FFF2-40B4-BE49-F238E27FC236}">
                  <a16:creationId xmlns:a16="http://schemas.microsoft.com/office/drawing/2014/main" id="{1EB4333E-3A81-2626-6F20-5AFB3D061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6" name="Oval 68">
              <a:extLst>
                <a:ext uri="{FF2B5EF4-FFF2-40B4-BE49-F238E27FC236}">
                  <a16:creationId xmlns:a16="http://schemas.microsoft.com/office/drawing/2014/main" id="{50D2EEA2-1DC0-5142-D8AA-98047DD7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7" name="Rectangle 69">
              <a:extLst>
                <a:ext uri="{FF2B5EF4-FFF2-40B4-BE49-F238E27FC236}">
                  <a16:creationId xmlns:a16="http://schemas.microsoft.com/office/drawing/2014/main" id="{B68643BC-8C5B-EE8C-BE00-EE333D0C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8" name="Line 70">
              <a:extLst>
                <a:ext uri="{FF2B5EF4-FFF2-40B4-BE49-F238E27FC236}">
                  <a16:creationId xmlns:a16="http://schemas.microsoft.com/office/drawing/2014/main" id="{2B65A118-9017-F230-A13B-8E76ECE79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9" name="Line 71">
              <a:extLst>
                <a:ext uri="{FF2B5EF4-FFF2-40B4-BE49-F238E27FC236}">
                  <a16:creationId xmlns:a16="http://schemas.microsoft.com/office/drawing/2014/main" id="{37F22027-EAB3-4A03-C77C-5EFFE0149E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0" name="Line 72">
              <a:extLst>
                <a:ext uri="{FF2B5EF4-FFF2-40B4-BE49-F238E27FC236}">
                  <a16:creationId xmlns:a16="http://schemas.microsoft.com/office/drawing/2014/main" id="{44BD7329-DCCF-8BCD-A0CF-3F175D976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1" name="Line 73">
              <a:extLst>
                <a:ext uri="{FF2B5EF4-FFF2-40B4-BE49-F238E27FC236}">
                  <a16:creationId xmlns:a16="http://schemas.microsoft.com/office/drawing/2014/main" id="{6D7C08C1-483F-36D4-43EB-6F7F1A508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74">
              <a:extLst>
                <a:ext uri="{FF2B5EF4-FFF2-40B4-BE49-F238E27FC236}">
                  <a16:creationId xmlns:a16="http://schemas.microsoft.com/office/drawing/2014/main" id="{8651EC90-2D7C-3610-B0FD-D77F40AB0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Line 75">
              <a:extLst>
                <a:ext uri="{FF2B5EF4-FFF2-40B4-BE49-F238E27FC236}">
                  <a16:creationId xmlns:a16="http://schemas.microsoft.com/office/drawing/2014/main" id="{74305597-1A23-569D-1758-C7FF8D18F9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Line 76">
              <a:extLst>
                <a:ext uri="{FF2B5EF4-FFF2-40B4-BE49-F238E27FC236}">
                  <a16:creationId xmlns:a16="http://schemas.microsoft.com/office/drawing/2014/main" id="{6CA22572-D042-7E13-5782-342F0F8D1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Line 77">
              <a:extLst>
                <a:ext uri="{FF2B5EF4-FFF2-40B4-BE49-F238E27FC236}">
                  <a16:creationId xmlns:a16="http://schemas.microsoft.com/office/drawing/2014/main" id="{7B71C009-C493-2AAF-A1A7-DC10EAED1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Line 78">
              <a:extLst>
                <a:ext uri="{FF2B5EF4-FFF2-40B4-BE49-F238E27FC236}">
                  <a16:creationId xmlns:a16="http://schemas.microsoft.com/office/drawing/2014/main" id="{DFA0FEFC-D1DF-A0D1-36C6-84901178AC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7" name="Line 79">
              <a:extLst>
                <a:ext uri="{FF2B5EF4-FFF2-40B4-BE49-F238E27FC236}">
                  <a16:creationId xmlns:a16="http://schemas.microsoft.com/office/drawing/2014/main" id="{3847224F-F063-E518-67A6-C3E875BE8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8" name="Group 1127">
            <a:extLst>
              <a:ext uri="{FF2B5EF4-FFF2-40B4-BE49-F238E27FC236}">
                <a16:creationId xmlns:a16="http://schemas.microsoft.com/office/drawing/2014/main" id="{C18BF32D-A3AC-4AB7-751F-81789147CB33}"/>
              </a:ext>
            </a:extLst>
          </p:cNvPr>
          <p:cNvGrpSpPr>
            <a:grpSpLocks noChangeAspect="1"/>
          </p:cNvGrpSpPr>
          <p:nvPr/>
        </p:nvGrpSpPr>
        <p:grpSpPr>
          <a:xfrm>
            <a:off x="9171464" y="1322984"/>
            <a:ext cx="446980" cy="417600"/>
            <a:chOff x="4768851" y="762001"/>
            <a:chExt cx="338138" cy="315912"/>
          </a:xfrm>
        </p:grpSpPr>
        <p:sp>
          <p:nvSpPr>
            <p:cNvPr id="1129" name="Line 325">
              <a:extLst>
                <a:ext uri="{FF2B5EF4-FFF2-40B4-BE49-F238E27FC236}">
                  <a16:creationId xmlns:a16="http://schemas.microsoft.com/office/drawing/2014/main" id="{E6DF6F1F-8CB5-4074-1A4A-5DBD7E23B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Line 326">
              <a:extLst>
                <a:ext uri="{FF2B5EF4-FFF2-40B4-BE49-F238E27FC236}">
                  <a16:creationId xmlns:a16="http://schemas.microsoft.com/office/drawing/2014/main" id="{CA178428-A0B0-7B4F-E056-72BDF6DF2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Line 327">
              <a:extLst>
                <a:ext uri="{FF2B5EF4-FFF2-40B4-BE49-F238E27FC236}">
                  <a16:creationId xmlns:a16="http://schemas.microsoft.com/office/drawing/2014/main" id="{83F7D263-3E4E-9451-E91D-CE3906DAE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Line 328">
              <a:extLst>
                <a:ext uri="{FF2B5EF4-FFF2-40B4-BE49-F238E27FC236}">
                  <a16:creationId xmlns:a16="http://schemas.microsoft.com/office/drawing/2014/main" id="{7DB6B0DC-4156-53E2-43F7-B623F542C7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Line 329">
              <a:extLst>
                <a:ext uri="{FF2B5EF4-FFF2-40B4-BE49-F238E27FC236}">
                  <a16:creationId xmlns:a16="http://schemas.microsoft.com/office/drawing/2014/main" id="{982F8649-0F1C-A410-EEFF-755671973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4" name="Line 330">
              <a:extLst>
                <a:ext uri="{FF2B5EF4-FFF2-40B4-BE49-F238E27FC236}">
                  <a16:creationId xmlns:a16="http://schemas.microsoft.com/office/drawing/2014/main" id="{FADB7CCB-2492-7F8F-04F2-2FB9CEB7A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5" name="Line 331">
              <a:extLst>
                <a:ext uri="{FF2B5EF4-FFF2-40B4-BE49-F238E27FC236}">
                  <a16:creationId xmlns:a16="http://schemas.microsoft.com/office/drawing/2014/main" id="{10B0DE95-CB1E-7D91-4DFA-5705BF56F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6" name="Line 332">
              <a:extLst>
                <a:ext uri="{FF2B5EF4-FFF2-40B4-BE49-F238E27FC236}">
                  <a16:creationId xmlns:a16="http://schemas.microsoft.com/office/drawing/2014/main" id="{A323AD1F-DBC5-9E09-7137-CBD2FA603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7" name="Line 333">
              <a:extLst>
                <a:ext uri="{FF2B5EF4-FFF2-40B4-BE49-F238E27FC236}">
                  <a16:creationId xmlns:a16="http://schemas.microsoft.com/office/drawing/2014/main" id="{B6AD2D5F-058D-CC45-A31B-1D3B9972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8" name="Line 334">
              <a:extLst>
                <a:ext uri="{FF2B5EF4-FFF2-40B4-BE49-F238E27FC236}">
                  <a16:creationId xmlns:a16="http://schemas.microsoft.com/office/drawing/2014/main" id="{03684E36-3D0A-11EF-F4F0-F21D9D138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9" name="Freeform 335">
              <a:extLst>
                <a:ext uri="{FF2B5EF4-FFF2-40B4-BE49-F238E27FC236}">
                  <a16:creationId xmlns:a16="http://schemas.microsoft.com/office/drawing/2014/main" id="{EF00BB68-1667-91AA-82A2-335DD7FF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0" name="Freeform 336">
              <a:extLst>
                <a:ext uri="{FF2B5EF4-FFF2-40B4-BE49-F238E27FC236}">
                  <a16:creationId xmlns:a16="http://schemas.microsoft.com/office/drawing/2014/main" id="{039346C9-0E95-3C84-0216-D22CFC8B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1" name="Freeform 337">
              <a:extLst>
                <a:ext uri="{FF2B5EF4-FFF2-40B4-BE49-F238E27FC236}">
                  <a16:creationId xmlns:a16="http://schemas.microsoft.com/office/drawing/2014/main" id="{09614A63-FBE8-AF16-CBDF-257CC270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0" name="Group 1159">
            <a:extLst>
              <a:ext uri="{FF2B5EF4-FFF2-40B4-BE49-F238E27FC236}">
                <a16:creationId xmlns:a16="http://schemas.microsoft.com/office/drawing/2014/main" id="{4AF9C556-3BA0-23C3-1FAA-BEAE7FC117BC}"/>
              </a:ext>
            </a:extLst>
          </p:cNvPr>
          <p:cNvGrpSpPr/>
          <p:nvPr/>
        </p:nvGrpSpPr>
        <p:grpSpPr>
          <a:xfrm>
            <a:off x="6085090" y="2980513"/>
            <a:ext cx="417600" cy="417600"/>
            <a:chOff x="10719128" y="2699636"/>
            <a:chExt cx="417600" cy="417600"/>
          </a:xfrm>
        </p:grpSpPr>
        <p:sp>
          <p:nvSpPr>
            <p:cNvPr id="1143" name="Freeform 458">
              <a:extLst>
                <a:ext uri="{FF2B5EF4-FFF2-40B4-BE49-F238E27FC236}">
                  <a16:creationId xmlns:a16="http://schemas.microsoft.com/office/drawing/2014/main" id="{5E91B4FE-F92C-6D4C-CB1C-2F201AAF0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9128" y="2954410"/>
              <a:ext cx="417600" cy="162826"/>
            </a:xfrm>
            <a:custGeom>
              <a:avLst/>
              <a:gdLst>
                <a:gd name="T0" fmla="*/ 92 w 92"/>
                <a:gd name="T1" fmla="*/ 28 h 36"/>
                <a:gd name="T2" fmla="*/ 84 w 92"/>
                <a:gd name="T3" fmla="*/ 36 h 36"/>
                <a:gd name="T4" fmla="*/ 8 w 92"/>
                <a:gd name="T5" fmla="*/ 36 h 36"/>
                <a:gd name="T6" fmla="*/ 0 w 92"/>
                <a:gd name="T7" fmla="*/ 28 h 36"/>
                <a:gd name="T8" fmla="*/ 0 w 92"/>
                <a:gd name="T9" fmla="*/ 8 h 36"/>
                <a:gd name="T10" fmla="*/ 8 w 92"/>
                <a:gd name="T11" fmla="*/ 0 h 36"/>
                <a:gd name="T12" fmla="*/ 84 w 92"/>
                <a:gd name="T13" fmla="*/ 0 h 36"/>
                <a:gd name="T14" fmla="*/ 92 w 92"/>
                <a:gd name="T15" fmla="*/ 8 h 36"/>
                <a:gd name="T16" fmla="*/ 92 w 92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6">
                  <a:moveTo>
                    <a:pt x="92" y="28"/>
                  </a:moveTo>
                  <a:cubicBezTo>
                    <a:pt x="92" y="32"/>
                    <a:pt x="88" y="36"/>
                    <a:pt x="8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32"/>
                    <a:pt x="0" y="2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4" name="Freeform 459">
              <a:extLst>
                <a:ext uri="{FF2B5EF4-FFF2-40B4-BE49-F238E27FC236}">
                  <a16:creationId xmlns:a16="http://schemas.microsoft.com/office/drawing/2014/main" id="{910245C1-3B6D-22A9-8B65-3213C8243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2699636"/>
              <a:ext cx="162826" cy="201138"/>
            </a:xfrm>
            <a:custGeom>
              <a:avLst/>
              <a:gdLst>
                <a:gd name="T0" fmla="*/ 36 w 36"/>
                <a:gd name="T1" fmla="*/ 32 h 44"/>
                <a:gd name="T2" fmla="*/ 24 w 36"/>
                <a:gd name="T3" fmla="*/ 44 h 44"/>
                <a:gd name="T4" fmla="*/ 12 w 36"/>
                <a:gd name="T5" fmla="*/ 44 h 44"/>
                <a:gd name="T6" fmla="*/ 0 w 36"/>
                <a:gd name="T7" fmla="*/ 32 h 44"/>
                <a:gd name="T8" fmla="*/ 0 w 36"/>
                <a:gd name="T9" fmla="*/ 12 h 44"/>
                <a:gd name="T10" fmla="*/ 12 w 36"/>
                <a:gd name="T11" fmla="*/ 0 h 44"/>
                <a:gd name="T12" fmla="*/ 24 w 36"/>
                <a:gd name="T13" fmla="*/ 0 h 44"/>
                <a:gd name="T14" fmla="*/ 36 w 36"/>
                <a:gd name="T15" fmla="*/ 12 h 44"/>
                <a:gd name="T16" fmla="*/ 36 w 36"/>
                <a:gd name="T17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4">
                  <a:moveTo>
                    <a:pt x="36" y="32"/>
                  </a:moveTo>
                  <a:cubicBezTo>
                    <a:pt x="36" y="39"/>
                    <a:pt x="31" y="44"/>
                    <a:pt x="24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32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5" name="Line 460">
              <a:extLst>
                <a:ext uri="{FF2B5EF4-FFF2-40B4-BE49-F238E27FC236}">
                  <a16:creationId xmlns:a16="http://schemas.microsoft.com/office/drawing/2014/main" id="{42DBD7DC-F9C4-B778-1730-FD1D77BE0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7929" y="2854799"/>
              <a:ext cx="0" cy="99611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6" name="Line 461">
              <a:extLst>
                <a:ext uri="{FF2B5EF4-FFF2-40B4-BE49-F238E27FC236}">
                  <a16:creationId xmlns:a16="http://schemas.microsoft.com/office/drawing/2014/main" id="{8307248D-D739-EF91-1CCA-A5B6179603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9389" y="2736032"/>
              <a:ext cx="59384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7" name="Line 462">
              <a:extLst>
                <a:ext uri="{FF2B5EF4-FFF2-40B4-BE49-F238E27FC236}">
                  <a16:creationId xmlns:a16="http://schemas.microsoft.com/office/drawing/2014/main" id="{B321E765-F693-02CB-85C3-0DE276300A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772429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8" name="Line 463">
              <a:extLst>
                <a:ext uri="{FF2B5EF4-FFF2-40B4-BE49-F238E27FC236}">
                  <a16:creationId xmlns:a16="http://schemas.microsoft.com/office/drawing/2014/main" id="{82D0C8D4-B3CD-918B-D574-6336FC3E8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45557" y="2808824"/>
              <a:ext cx="6321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9" name="Line 464">
              <a:extLst>
                <a:ext uri="{FF2B5EF4-FFF2-40B4-BE49-F238E27FC236}">
                  <a16:creationId xmlns:a16="http://schemas.microsoft.com/office/drawing/2014/main" id="{D4B82601-D27C-38A8-7249-93B708B9C6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772429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0" name="Line 465">
              <a:extLst>
                <a:ext uri="{FF2B5EF4-FFF2-40B4-BE49-F238E27FC236}">
                  <a16:creationId xmlns:a16="http://schemas.microsoft.com/office/drawing/2014/main" id="{394A59B5-905B-1377-D44E-79CDB03DAD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964324" y="2808824"/>
              <a:ext cx="44059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1" name="Freeform 466">
              <a:extLst>
                <a:ext uri="{FF2B5EF4-FFF2-40B4-BE49-F238E27FC236}">
                  <a16:creationId xmlns:a16="http://schemas.microsoft.com/office/drawing/2014/main" id="{B3EE6DDE-B5FA-CBF4-D249-8E5363A75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5557" y="3000384"/>
              <a:ext cx="36397" cy="70878"/>
            </a:xfrm>
            <a:custGeom>
              <a:avLst/>
              <a:gdLst>
                <a:gd name="T0" fmla="*/ 0 w 19"/>
                <a:gd name="T1" fmla="*/ 37 h 37"/>
                <a:gd name="T2" fmla="*/ 0 w 19"/>
                <a:gd name="T3" fmla="*/ 0 h 37"/>
                <a:gd name="T4" fmla="*/ 19 w 19"/>
                <a:gd name="T5" fmla="*/ 37 h 37"/>
                <a:gd name="T6" fmla="*/ 19 w 19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lnTo>
                    <a:pt x="0" y="0"/>
                  </a:lnTo>
                  <a:lnTo>
                    <a:pt x="19" y="37"/>
                  </a:lnTo>
                  <a:lnTo>
                    <a:pt x="19" y="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2" name="Oval 467">
              <a:extLst>
                <a:ext uri="{FF2B5EF4-FFF2-40B4-BE49-F238E27FC236}">
                  <a16:creationId xmlns:a16="http://schemas.microsoft.com/office/drawing/2014/main" id="{9F42E78B-0811-4EB8-3C62-70CCE6133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8512" y="3000384"/>
              <a:ext cx="40228" cy="7087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3" name="Line 468">
              <a:extLst>
                <a:ext uri="{FF2B5EF4-FFF2-40B4-BE49-F238E27FC236}">
                  <a16:creationId xmlns:a16="http://schemas.microsoft.com/office/drawing/2014/main" id="{F56953BF-A92E-EBC0-4E32-B6060E8A82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14130" y="3000384"/>
              <a:ext cx="0" cy="7087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4" name="Freeform 469">
              <a:extLst>
                <a:ext uri="{FF2B5EF4-FFF2-40B4-BE49-F238E27FC236}">
                  <a16:creationId xmlns:a16="http://schemas.microsoft.com/office/drawing/2014/main" id="{0B23EC43-D1EF-5A5B-C3F2-C1403C8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9000" y="3000384"/>
              <a:ext cx="36397" cy="70878"/>
            </a:xfrm>
            <a:custGeom>
              <a:avLst/>
              <a:gdLst>
                <a:gd name="T0" fmla="*/ 19 w 19"/>
                <a:gd name="T1" fmla="*/ 37 h 37"/>
                <a:gd name="T2" fmla="*/ 10 w 19"/>
                <a:gd name="T3" fmla="*/ 0 h 37"/>
                <a:gd name="T4" fmla="*/ 0 w 19"/>
                <a:gd name="T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7">
                  <a:moveTo>
                    <a:pt x="19" y="37"/>
                  </a:moveTo>
                  <a:lnTo>
                    <a:pt x="10" y="0"/>
                  </a:lnTo>
                  <a:lnTo>
                    <a:pt x="0" y="3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5" name="Line 470">
              <a:extLst>
                <a:ext uri="{FF2B5EF4-FFF2-40B4-BE49-F238E27FC236}">
                  <a16:creationId xmlns:a16="http://schemas.microsoft.com/office/drawing/2014/main" id="{89D77870-25D7-284D-90C8-1DB1E87097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4747" y="3054021"/>
              <a:ext cx="2681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6" name="Freeform 471">
              <a:extLst>
                <a:ext uri="{FF2B5EF4-FFF2-40B4-BE49-F238E27FC236}">
                  <a16:creationId xmlns:a16="http://schemas.microsoft.com/office/drawing/2014/main" id="{1D6DBA78-8DAA-7052-87F8-84CA4EDAA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948" y="3000384"/>
              <a:ext cx="36397" cy="70878"/>
            </a:xfrm>
            <a:custGeom>
              <a:avLst/>
              <a:gdLst>
                <a:gd name="T0" fmla="*/ 0 w 8"/>
                <a:gd name="T1" fmla="*/ 16 h 16"/>
                <a:gd name="T2" fmla="*/ 0 w 8"/>
                <a:gd name="T3" fmla="*/ 0 h 16"/>
                <a:gd name="T4" fmla="*/ 4 w 8"/>
                <a:gd name="T5" fmla="*/ 0 h 16"/>
                <a:gd name="T6" fmla="*/ 8 w 8"/>
                <a:gd name="T7" fmla="*/ 4 h 16"/>
                <a:gd name="T8" fmla="*/ 4 w 8"/>
                <a:gd name="T9" fmla="*/ 8 h 16"/>
                <a:gd name="T10" fmla="*/ 0 w 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7" name="Line 472">
              <a:extLst>
                <a:ext uri="{FF2B5EF4-FFF2-40B4-BE49-F238E27FC236}">
                  <a16:creationId xmlns:a16="http://schemas.microsoft.com/office/drawing/2014/main" id="{C9BDEB9D-8278-A6B6-19A1-A7EDEA7EE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8189" y="3036781"/>
              <a:ext cx="19156" cy="34481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59" name="TextBox 1158">
            <a:extLst>
              <a:ext uri="{FF2B5EF4-FFF2-40B4-BE49-F238E27FC236}">
                <a16:creationId xmlns:a16="http://schemas.microsoft.com/office/drawing/2014/main" id="{04A44470-7506-A6CD-A981-7327644813FA}"/>
              </a:ext>
            </a:extLst>
          </p:cNvPr>
          <p:cNvSpPr txBox="1"/>
          <p:nvPr/>
        </p:nvSpPr>
        <p:spPr>
          <a:xfrm>
            <a:off x="9171464" y="3669384"/>
            <a:ext cx="2718118" cy="7105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cial Integration</a:t>
            </a:r>
          </a:p>
        </p:txBody>
      </p:sp>
      <p:sp>
        <p:nvSpPr>
          <p:cNvPr id="1161" name="TextBox 1160">
            <a:extLst>
              <a:ext uri="{FF2B5EF4-FFF2-40B4-BE49-F238E27FC236}">
                <a16:creationId xmlns:a16="http://schemas.microsoft.com/office/drawing/2014/main" id="{CD25D7CB-2ACD-7AAF-9784-1CA5F039EB07}"/>
              </a:ext>
            </a:extLst>
          </p:cNvPr>
          <p:cNvSpPr txBox="1"/>
          <p:nvPr/>
        </p:nvSpPr>
        <p:spPr>
          <a:xfrm>
            <a:off x="9171464" y="5331297"/>
            <a:ext cx="2718118" cy="7105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fline Listening</a:t>
            </a:r>
          </a:p>
        </p:txBody>
      </p:sp>
      <p:grpSp>
        <p:nvGrpSpPr>
          <p:cNvPr id="1166" name="Group 1165">
            <a:extLst>
              <a:ext uri="{FF2B5EF4-FFF2-40B4-BE49-F238E27FC236}">
                <a16:creationId xmlns:a16="http://schemas.microsoft.com/office/drawing/2014/main" id="{8CA184C5-DD84-6660-263F-6CF564823CC4}"/>
              </a:ext>
            </a:extLst>
          </p:cNvPr>
          <p:cNvGrpSpPr/>
          <p:nvPr/>
        </p:nvGrpSpPr>
        <p:grpSpPr>
          <a:xfrm>
            <a:off x="9993790" y="1531784"/>
            <a:ext cx="2198210" cy="3323826"/>
            <a:chOff x="9809625" y="1531784"/>
            <a:chExt cx="2382375" cy="3323826"/>
          </a:xfrm>
        </p:grpSpPr>
        <p:cxnSp>
          <p:nvCxnSpPr>
            <p:cNvPr id="1163" name="Straight Connector 1162">
              <a:extLst>
                <a:ext uri="{FF2B5EF4-FFF2-40B4-BE49-F238E27FC236}">
                  <a16:creationId xmlns:a16="http://schemas.microsoft.com/office/drawing/2014/main" id="{E0FFDFFA-B492-0C5A-5DDF-E28914A4EB82}"/>
                </a:ext>
              </a:extLst>
            </p:cNvPr>
            <p:cNvCxnSpPr/>
            <p:nvPr/>
          </p:nvCxnSpPr>
          <p:spPr>
            <a:xfrm>
              <a:off x="9809625" y="1531784"/>
              <a:ext cx="2382375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4" name="Straight Connector 1163">
              <a:extLst>
                <a:ext uri="{FF2B5EF4-FFF2-40B4-BE49-F238E27FC236}">
                  <a16:creationId xmlns:a16="http://schemas.microsoft.com/office/drawing/2014/main" id="{F29E5786-3AFD-81D6-C286-AEBD5F2AE075}"/>
                </a:ext>
              </a:extLst>
            </p:cNvPr>
            <p:cNvCxnSpPr/>
            <p:nvPr/>
          </p:nvCxnSpPr>
          <p:spPr>
            <a:xfrm>
              <a:off x="9809625" y="3193697"/>
              <a:ext cx="2382375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5" name="Straight Connector 1164">
              <a:extLst>
                <a:ext uri="{FF2B5EF4-FFF2-40B4-BE49-F238E27FC236}">
                  <a16:creationId xmlns:a16="http://schemas.microsoft.com/office/drawing/2014/main" id="{23E0C8F3-2675-3AE1-597A-EE6230452B57}"/>
                </a:ext>
              </a:extLst>
            </p:cNvPr>
            <p:cNvCxnSpPr/>
            <p:nvPr/>
          </p:nvCxnSpPr>
          <p:spPr>
            <a:xfrm>
              <a:off x="9809625" y="4855610"/>
              <a:ext cx="2382375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A07618B2-3CCA-426D-5EDB-8F2C42C48391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1168" name="Freeform 244">
              <a:extLst>
                <a:ext uri="{FF2B5EF4-FFF2-40B4-BE49-F238E27FC236}">
                  <a16:creationId xmlns:a16="http://schemas.microsoft.com/office/drawing/2014/main" id="{74BFA16C-191A-9562-BAF7-F70112FB4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245">
              <a:extLst>
                <a:ext uri="{FF2B5EF4-FFF2-40B4-BE49-F238E27FC236}">
                  <a16:creationId xmlns:a16="http://schemas.microsoft.com/office/drawing/2014/main" id="{7B90F663-C07D-005C-C735-9279BE94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Line 246">
              <a:extLst>
                <a:ext uri="{FF2B5EF4-FFF2-40B4-BE49-F238E27FC236}">
                  <a16:creationId xmlns:a16="http://schemas.microsoft.com/office/drawing/2014/main" id="{D2F7A598-4001-2DF5-0671-75890FEBBC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Line 247">
              <a:extLst>
                <a:ext uri="{FF2B5EF4-FFF2-40B4-BE49-F238E27FC236}">
                  <a16:creationId xmlns:a16="http://schemas.microsoft.com/office/drawing/2014/main" id="{16C9E9A9-9F11-7BF6-EAA0-A93EFE0AAD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Line 248">
              <a:extLst>
                <a:ext uri="{FF2B5EF4-FFF2-40B4-BE49-F238E27FC236}">
                  <a16:creationId xmlns:a16="http://schemas.microsoft.com/office/drawing/2014/main" id="{C40F41EB-7A67-BCD4-2E5E-BBAD3887E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Line 249">
              <a:extLst>
                <a:ext uri="{FF2B5EF4-FFF2-40B4-BE49-F238E27FC236}">
                  <a16:creationId xmlns:a16="http://schemas.microsoft.com/office/drawing/2014/main" id="{92ABC565-8C2C-901E-7BC6-81B320816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Line 250">
              <a:extLst>
                <a:ext uri="{FF2B5EF4-FFF2-40B4-BE49-F238E27FC236}">
                  <a16:creationId xmlns:a16="http://schemas.microsoft.com/office/drawing/2014/main" id="{2CAA36E7-698B-CEB5-29E8-60DA5D8CC2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5" name="Line 251">
              <a:extLst>
                <a:ext uri="{FF2B5EF4-FFF2-40B4-BE49-F238E27FC236}">
                  <a16:creationId xmlns:a16="http://schemas.microsoft.com/office/drawing/2014/main" id="{86629AD6-D855-9719-06EC-998E64E2E3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6" name="Line 252">
              <a:extLst>
                <a:ext uri="{FF2B5EF4-FFF2-40B4-BE49-F238E27FC236}">
                  <a16:creationId xmlns:a16="http://schemas.microsoft.com/office/drawing/2014/main" id="{6596B47A-ACC1-EDC4-53EB-41C385600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65700A25-B639-0B1F-4109-1552741CD5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5563E13-1F54-3984-EBCD-DEC552A3012A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C8D65FB-0A64-344C-9A9E-D1E884EEE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A4DBE01-228E-06A1-7C9A-DDD5FBA8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7">
              <a:extLst>
                <a:ext uri="{FF2B5EF4-FFF2-40B4-BE49-F238E27FC236}">
                  <a16:creationId xmlns:a16="http://schemas.microsoft.com/office/drawing/2014/main" id="{996E972D-A82A-3932-22AB-B99B775840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87CD3C1B-E8D4-6B21-B271-DE1EEC3CB4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DE932F87-0836-B7B1-27AB-9D1EE1341F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D05DBC57-F89A-D327-B54C-0A176B65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7700DAC2-30B2-38FD-722C-9AE4A5A82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774D7905-0FFE-FF08-0CA9-0C1BF4EB48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4754CD15-E53A-EB63-868E-291D47EF3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44FED0E4-B702-7D35-AB29-258B2B6B1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5">
              <a:extLst>
                <a:ext uri="{FF2B5EF4-FFF2-40B4-BE49-F238E27FC236}">
                  <a16:creationId xmlns:a16="http://schemas.microsoft.com/office/drawing/2014/main" id="{9353D458-9143-7A48-BDFF-11D683EF30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02A7DF8E-4C52-354D-1BDD-D05A4EDB8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F553CB82-B396-AED5-6CB0-5CED589DF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00D3526-C855-D54C-A854-118A3BDDF39A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-Suggestions</a:t>
            </a:r>
          </a:p>
        </p:txBody>
      </p:sp>
      <p:sp>
        <p:nvSpPr>
          <p:cNvPr id="1142" name="TextBox 1141">
            <a:extLst>
              <a:ext uri="{FF2B5EF4-FFF2-40B4-BE49-F238E27FC236}">
                <a16:creationId xmlns:a16="http://schemas.microsoft.com/office/drawing/2014/main" id="{4F8FE75A-B50E-5956-0EAF-B269134B495E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clusion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611BDA-72D5-0AB8-B906-0AECE688ABEA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38" name="Freeform 197">
              <a:extLst>
                <a:ext uri="{FF2B5EF4-FFF2-40B4-BE49-F238E27FC236}">
                  <a16:creationId xmlns:a16="http://schemas.microsoft.com/office/drawing/2014/main" id="{05178737-A7D9-F63F-2953-CDCC98AF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98">
              <a:extLst>
                <a:ext uri="{FF2B5EF4-FFF2-40B4-BE49-F238E27FC236}">
                  <a16:creationId xmlns:a16="http://schemas.microsoft.com/office/drawing/2014/main" id="{0D416CFA-59CD-6588-DAAD-787232D7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Rectangle 199">
              <a:extLst>
                <a:ext uri="{FF2B5EF4-FFF2-40B4-BE49-F238E27FC236}">
                  <a16:creationId xmlns:a16="http://schemas.microsoft.com/office/drawing/2014/main" id="{BE944D08-EDE1-B1D1-55F4-6627BC45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00">
              <a:extLst>
                <a:ext uri="{FF2B5EF4-FFF2-40B4-BE49-F238E27FC236}">
                  <a16:creationId xmlns:a16="http://schemas.microsoft.com/office/drawing/2014/main" id="{B5AB25EC-4989-675B-0DF9-379419685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01">
              <a:extLst>
                <a:ext uri="{FF2B5EF4-FFF2-40B4-BE49-F238E27FC236}">
                  <a16:creationId xmlns:a16="http://schemas.microsoft.com/office/drawing/2014/main" id="{74794D0D-4D4E-7AE0-5CAC-144F6450A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D8BC080-6B3B-9555-DA27-040273993A15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48" name="Oval 187">
              <a:extLst>
                <a:ext uri="{FF2B5EF4-FFF2-40B4-BE49-F238E27FC236}">
                  <a16:creationId xmlns:a16="http://schemas.microsoft.com/office/drawing/2014/main" id="{90B9A517-0062-C0FB-7C6C-D34445BFB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Oval 188">
              <a:extLst>
                <a:ext uri="{FF2B5EF4-FFF2-40B4-BE49-F238E27FC236}">
                  <a16:creationId xmlns:a16="http://schemas.microsoft.com/office/drawing/2014/main" id="{6B132F85-4B8F-90F7-67B6-2C1A128A1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89">
              <a:extLst>
                <a:ext uri="{FF2B5EF4-FFF2-40B4-BE49-F238E27FC236}">
                  <a16:creationId xmlns:a16="http://schemas.microsoft.com/office/drawing/2014/main" id="{2630BD23-E405-DA2E-5019-A95981775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09F75501-C4A2-103E-A04E-3CDD30EC2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91">
              <a:extLst>
                <a:ext uri="{FF2B5EF4-FFF2-40B4-BE49-F238E27FC236}">
                  <a16:creationId xmlns:a16="http://schemas.microsoft.com/office/drawing/2014/main" id="{091A5D82-1CC0-5491-7754-33D2C5DCC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6257E6BA-9B6D-8C30-E421-3A5764EEF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B54AC6-B547-CEF0-1C7E-CF62EB5FBEFC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ferenc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C4FB6C-E0F8-8531-5828-3B0949AEBD0F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pic>
        <p:nvPicPr>
          <p:cNvPr id="62" name="Graphic 61" descr="Badge Question Mark outline">
            <a:extLst>
              <a:ext uri="{FF2B5EF4-FFF2-40B4-BE49-F238E27FC236}">
                <a16:creationId xmlns:a16="http://schemas.microsoft.com/office/drawing/2014/main" id="{FEA56DA8-1EAE-5C43-5BC3-FBA7B73C829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63" name="Graphic 62" descr="Customer review outline">
            <a:extLst>
              <a:ext uri="{FF2B5EF4-FFF2-40B4-BE49-F238E27FC236}">
                <a16:creationId xmlns:a16="http://schemas.microsoft.com/office/drawing/2014/main" id="{4D5C47BE-AD96-C7D9-3842-E9310669B2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C6B9753-BA7D-C11C-3451-E5A3C2B9EA1F}"/>
              </a:ext>
            </a:extLst>
          </p:cNvPr>
          <p:cNvSpPr txBox="1"/>
          <p:nvPr/>
        </p:nvSpPr>
        <p:spPr>
          <a:xfrm>
            <a:off x="6085090" y="2026857"/>
            <a:ext cx="2718118" cy="7105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-Demand Streaming</a:t>
            </a:r>
          </a:p>
        </p:txBody>
      </p:sp>
      <p:sp>
        <p:nvSpPr>
          <p:cNvPr id="1200" name="TextBox 1199">
            <a:extLst>
              <a:ext uri="{FF2B5EF4-FFF2-40B4-BE49-F238E27FC236}">
                <a16:creationId xmlns:a16="http://schemas.microsoft.com/office/drawing/2014/main" id="{E7E96248-30DE-3032-68BE-6A5F830803C8}"/>
              </a:ext>
            </a:extLst>
          </p:cNvPr>
          <p:cNvSpPr txBox="1"/>
          <p:nvPr/>
        </p:nvSpPr>
        <p:spPr>
          <a:xfrm>
            <a:off x="6085090" y="3688770"/>
            <a:ext cx="2718118" cy="7105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sonalized Playlists</a:t>
            </a:r>
          </a:p>
        </p:txBody>
      </p:sp>
      <p:sp>
        <p:nvSpPr>
          <p:cNvPr id="1201" name="TextBox 1200">
            <a:extLst>
              <a:ext uri="{FF2B5EF4-FFF2-40B4-BE49-F238E27FC236}">
                <a16:creationId xmlns:a16="http://schemas.microsoft.com/office/drawing/2014/main" id="{C75D94F8-E3CB-2CD9-CC72-FFDBEFFA39C1}"/>
              </a:ext>
            </a:extLst>
          </p:cNvPr>
          <p:cNvSpPr txBox="1"/>
          <p:nvPr/>
        </p:nvSpPr>
        <p:spPr>
          <a:xfrm>
            <a:off x="6085090" y="5350683"/>
            <a:ext cx="2718118" cy="7105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lti-Device Access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202" name="Group 1201">
            <a:extLst>
              <a:ext uri="{FF2B5EF4-FFF2-40B4-BE49-F238E27FC236}">
                <a16:creationId xmlns:a16="http://schemas.microsoft.com/office/drawing/2014/main" id="{848EB034-C9A0-CCBA-0920-20459601417E}"/>
              </a:ext>
            </a:extLst>
          </p:cNvPr>
          <p:cNvGrpSpPr/>
          <p:nvPr/>
        </p:nvGrpSpPr>
        <p:grpSpPr>
          <a:xfrm>
            <a:off x="6907416" y="1551170"/>
            <a:ext cx="1978135" cy="3323826"/>
            <a:chOff x="9809625" y="1531784"/>
            <a:chExt cx="2382375" cy="3323826"/>
          </a:xfrm>
        </p:grpSpPr>
        <p:cxnSp>
          <p:nvCxnSpPr>
            <p:cNvPr id="1203" name="Straight Connector 1202">
              <a:extLst>
                <a:ext uri="{FF2B5EF4-FFF2-40B4-BE49-F238E27FC236}">
                  <a16:creationId xmlns:a16="http://schemas.microsoft.com/office/drawing/2014/main" id="{58CE3604-9540-B9FC-61E2-B68C20F26B31}"/>
                </a:ext>
              </a:extLst>
            </p:cNvPr>
            <p:cNvCxnSpPr/>
            <p:nvPr/>
          </p:nvCxnSpPr>
          <p:spPr>
            <a:xfrm>
              <a:off x="9809625" y="1531784"/>
              <a:ext cx="2382375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4" name="Straight Connector 1203">
              <a:extLst>
                <a:ext uri="{FF2B5EF4-FFF2-40B4-BE49-F238E27FC236}">
                  <a16:creationId xmlns:a16="http://schemas.microsoft.com/office/drawing/2014/main" id="{6E8DBB79-EA60-FE00-77CD-539A3734D2C3}"/>
                </a:ext>
              </a:extLst>
            </p:cNvPr>
            <p:cNvCxnSpPr/>
            <p:nvPr/>
          </p:nvCxnSpPr>
          <p:spPr>
            <a:xfrm>
              <a:off x="9809625" y="3193697"/>
              <a:ext cx="2382375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5" name="Straight Connector 1204">
              <a:extLst>
                <a:ext uri="{FF2B5EF4-FFF2-40B4-BE49-F238E27FC236}">
                  <a16:creationId xmlns:a16="http://schemas.microsoft.com/office/drawing/2014/main" id="{C2050278-AB3E-A9B0-D549-91C0ADAF6462}"/>
                </a:ext>
              </a:extLst>
            </p:cNvPr>
            <p:cNvCxnSpPr/>
            <p:nvPr/>
          </p:nvCxnSpPr>
          <p:spPr>
            <a:xfrm>
              <a:off x="9809625" y="4855610"/>
              <a:ext cx="2382375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06" name="Group 1205">
            <a:extLst>
              <a:ext uri="{FF2B5EF4-FFF2-40B4-BE49-F238E27FC236}">
                <a16:creationId xmlns:a16="http://schemas.microsoft.com/office/drawing/2014/main" id="{CCB45B13-1806-94A2-6A23-E4B77E5FE45B}"/>
              </a:ext>
            </a:extLst>
          </p:cNvPr>
          <p:cNvGrpSpPr/>
          <p:nvPr/>
        </p:nvGrpSpPr>
        <p:grpSpPr>
          <a:xfrm>
            <a:off x="6085090" y="1323347"/>
            <a:ext cx="638161" cy="417600"/>
            <a:chOff x="9239555" y="2896672"/>
            <a:chExt cx="638161" cy="417600"/>
          </a:xfrm>
        </p:grpSpPr>
        <p:sp>
          <p:nvSpPr>
            <p:cNvPr id="1207" name="Freeform 66">
              <a:extLst>
                <a:ext uri="{FF2B5EF4-FFF2-40B4-BE49-F238E27FC236}">
                  <a16:creationId xmlns:a16="http://schemas.microsoft.com/office/drawing/2014/main" id="{E1738BFD-6A19-23B5-5FE1-1E4A49B94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555" y="2896672"/>
              <a:ext cx="638161" cy="417598"/>
            </a:xfrm>
            <a:custGeom>
              <a:avLst/>
              <a:gdLst>
                <a:gd name="T0" fmla="*/ 92 w 92"/>
                <a:gd name="T1" fmla="*/ 54 h 60"/>
                <a:gd name="T2" fmla="*/ 86 w 92"/>
                <a:gd name="T3" fmla="*/ 60 h 60"/>
                <a:gd name="T4" fmla="*/ 6 w 92"/>
                <a:gd name="T5" fmla="*/ 60 h 60"/>
                <a:gd name="T6" fmla="*/ 0 w 92"/>
                <a:gd name="T7" fmla="*/ 54 h 60"/>
                <a:gd name="T8" fmla="*/ 0 w 92"/>
                <a:gd name="T9" fmla="*/ 6 h 60"/>
                <a:gd name="T10" fmla="*/ 6 w 92"/>
                <a:gd name="T11" fmla="*/ 0 h 60"/>
                <a:gd name="T12" fmla="*/ 86 w 92"/>
                <a:gd name="T13" fmla="*/ 0 h 60"/>
                <a:gd name="T14" fmla="*/ 92 w 92"/>
                <a:gd name="T15" fmla="*/ 6 h 60"/>
                <a:gd name="T16" fmla="*/ 92 w 92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0">
                  <a:moveTo>
                    <a:pt x="92" y="54"/>
                  </a:moveTo>
                  <a:cubicBezTo>
                    <a:pt x="92" y="57"/>
                    <a:pt x="89" y="60"/>
                    <a:pt x="8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54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8" name="Freeform 67">
              <a:extLst>
                <a:ext uri="{FF2B5EF4-FFF2-40B4-BE49-F238E27FC236}">
                  <a16:creationId xmlns:a16="http://schemas.microsoft.com/office/drawing/2014/main" id="{421B4F57-3D43-1838-D4BC-0F78D0A0A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601" y="3228987"/>
              <a:ext cx="444066" cy="85285"/>
            </a:xfrm>
            <a:custGeom>
              <a:avLst/>
              <a:gdLst>
                <a:gd name="T0" fmla="*/ 151 w 151"/>
                <a:gd name="T1" fmla="*/ 29 h 29"/>
                <a:gd name="T2" fmla="*/ 0 w 151"/>
                <a:gd name="T3" fmla="*/ 29 h 29"/>
                <a:gd name="T4" fmla="*/ 28 w 151"/>
                <a:gd name="T5" fmla="*/ 0 h 29"/>
                <a:gd name="T6" fmla="*/ 123 w 151"/>
                <a:gd name="T7" fmla="*/ 0 h 29"/>
                <a:gd name="T8" fmla="*/ 151 w 151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9">
                  <a:moveTo>
                    <a:pt x="151" y="29"/>
                  </a:moveTo>
                  <a:lnTo>
                    <a:pt x="0" y="29"/>
                  </a:lnTo>
                  <a:lnTo>
                    <a:pt x="28" y="0"/>
                  </a:lnTo>
                  <a:lnTo>
                    <a:pt x="123" y="0"/>
                  </a:lnTo>
                  <a:lnTo>
                    <a:pt x="151" y="29"/>
                  </a:lnTo>
                  <a:close/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9" name="Oval 68">
              <a:extLst>
                <a:ext uri="{FF2B5EF4-FFF2-40B4-BE49-F238E27FC236}">
                  <a16:creationId xmlns:a16="http://schemas.microsoft.com/office/drawing/2014/main" id="{FBE6F2A6-1442-A3DE-45CC-BD3D04A939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898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0" name="Rectangle 69">
              <a:extLst>
                <a:ext uri="{FF2B5EF4-FFF2-40B4-BE49-F238E27FC236}">
                  <a16:creationId xmlns:a16="http://schemas.microsoft.com/office/drawing/2014/main" id="{693899FC-299A-F64A-FBE9-EFB0147897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9525" y="3061359"/>
              <a:ext cx="138220" cy="55877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1" name="Line 70">
              <a:extLst>
                <a:ext uri="{FF2B5EF4-FFF2-40B4-BE49-F238E27FC236}">
                  <a16:creationId xmlns:a16="http://schemas.microsoft.com/office/drawing/2014/main" id="{831A121B-8376-8480-32F8-50C77589DE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377773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2" name="Line 71">
              <a:extLst>
                <a:ext uri="{FF2B5EF4-FFF2-40B4-BE49-F238E27FC236}">
                  <a16:creationId xmlns:a16="http://schemas.microsoft.com/office/drawing/2014/main" id="{22FB6F8F-C65A-F9E7-E2EB-65CA8C49C11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21898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3" name="Line 72">
              <a:extLst>
                <a:ext uri="{FF2B5EF4-FFF2-40B4-BE49-F238E27FC236}">
                  <a16:creationId xmlns:a16="http://schemas.microsoft.com/office/drawing/2014/main" id="{9DA055E5-F7E3-822A-3E7B-BF73C9A981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77773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4" name="Line 73">
              <a:extLst>
                <a:ext uri="{FF2B5EF4-FFF2-40B4-BE49-F238E27FC236}">
                  <a16:creationId xmlns:a16="http://schemas.microsoft.com/office/drawing/2014/main" id="{3896AE5C-D456-8F2F-E9B9-2965D3660B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07181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5" name="Oval 74">
              <a:extLst>
                <a:ext uri="{FF2B5EF4-FFF2-40B4-BE49-F238E27FC236}">
                  <a16:creationId xmlns:a16="http://schemas.microsoft.com/office/drawing/2014/main" id="{E3B477B7-1DD4-4A2A-EFDF-9D6DA72AD8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619" y="3049595"/>
              <a:ext cx="111752" cy="111752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6" name="Line 75">
              <a:extLst>
                <a:ext uri="{FF2B5EF4-FFF2-40B4-BE49-F238E27FC236}">
                  <a16:creationId xmlns:a16="http://schemas.microsoft.com/office/drawing/2014/main" id="{0121F48A-DAEA-92C8-2C30-1699A0294B3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39496" y="3049595"/>
              <a:ext cx="0" cy="2646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7" name="Line 76">
              <a:extLst>
                <a:ext uri="{FF2B5EF4-FFF2-40B4-BE49-F238E27FC236}">
                  <a16:creationId xmlns:a16="http://schemas.microsoft.com/office/drawing/2014/main" id="{24E5B7FC-2785-002D-B13E-2EF1352F30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83619" y="3105472"/>
              <a:ext cx="2940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8" name="Line 77">
              <a:extLst>
                <a:ext uri="{FF2B5EF4-FFF2-40B4-BE49-F238E27FC236}">
                  <a16:creationId xmlns:a16="http://schemas.microsoft.com/office/drawing/2014/main" id="{1A207D22-23FB-3402-49B3-F5F2F78D1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496" y="3131939"/>
              <a:ext cx="0" cy="2940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9" name="Line 78">
              <a:extLst>
                <a:ext uri="{FF2B5EF4-FFF2-40B4-BE49-F238E27FC236}">
                  <a16:creationId xmlns:a16="http://schemas.microsoft.com/office/drawing/2014/main" id="{13779315-522C-3982-66DE-1CB67FFE15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8904" y="3105472"/>
              <a:ext cx="2646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0" name="Line 79">
              <a:extLst>
                <a:ext uri="{FF2B5EF4-FFF2-40B4-BE49-F238E27FC236}">
                  <a16:creationId xmlns:a16="http://schemas.microsoft.com/office/drawing/2014/main" id="{5CE5D887-DF9C-3904-A7D7-3374DDA3D3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1898" y="2952549"/>
              <a:ext cx="4734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37" name="Group 1236">
            <a:extLst>
              <a:ext uri="{FF2B5EF4-FFF2-40B4-BE49-F238E27FC236}">
                <a16:creationId xmlns:a16="http://schemas.microsoft.com/office/drawing/2014/main" id="{D9BEF882-99B9-011A-0729-3E93C600A89F}"/>
              </a:ext>
            </a:extLst>
          </p:cNvPr>
          <p:cNvGrpSpPr>
            <a:grpSpLocks noChangeAspect="1"/>
          </p:cNvGrpSpPr>
          <p:nvPr/>
        </p:nvGrpSpPr>
        <p:grpSpPr>
          <a:xfrm>
            <a:off x="6096878" y="4568932"/>
            <a:ext cx="446980" cy="417600"/>
            <a:chOff x="4768851" y="762001"/>
            <a:chExt cx="338138" cy="315912"/>
          </a:xfrm>
        </p:grpSpPr>
        <p:sp>
          <p:nvSpPr>
            <p:cNvPr id="1238" name="Line 325">
              <a:extLst>
                <a:ext uri="{FF2B5EF4-FFF2-40B4-BE49-F238E27FC236}">
                  <a16:creationId xmlns:a16="http://schemas.microsoft.com/office/drawing/2014/main" id="{318E6B04-5A49-76ED-2608-C7C1C928B6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762001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9" name="Line 326">
              <a:extLst>
                <a:ext uri="{FF2B5EF4-FFF2-40B4-BE49-F238E27FC236}">
                  <a16:creationId xmlns:a16="http://schemas.microsoft.com/office/drawing/2014/main" id="{56D78969-F8F7-03FF-45AF-F7A3FF41D5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22326"/>
              <a:ext cx="223838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0" name="Line 327">
              <a:extLst>
                <a:ext uri="{FF2B5EF4-FFF2-40B4-BE49-F238E27FC236}">
                  <a16:creationId xmlns:a16="http://schemas.microsoft.com/office/drawing/2014/main" id="{A54ED1C0-04B2-0D72-63BD-D164DBC256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882651"/>
              <a:ext cx="209550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1" name="Line 328">
              <a:extLst>
                <a:ext uri="{FF2B5EF4-FFF2-40B4-BE49-F238E27FC236}">
                  <a16:creationId xmlns:a16="http://schemas.microsoft.com/office/drawing/2014/main" id="{19218750-8EFF-0CE5-60FC-F3B5D7D80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942976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2" name="Line 329">
              <a:extLst>
                <a:ext uri="{FF2B5EF4-FFF2-40B4-BE49-F238E27FC236}">
                  <a16:creationId xmlns:a16="http://schemas.microsoft.com/office/drawing/2014/main" id="{1842C9AA-E88D-99F8-27F1-CBA0D871FF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4889" y="1001713"/>
              <a:ext cx="11906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3" name="Line 330">
              <a:extLst>
                <a:ext uri="{FF2B5EF4-FFF2-40B4-BE49-F238E27FC236}">
                  <a16:creationId xmlns:a16="http://schemas.microsoft.com/office/drawing/2014/main" id="{A80B1D40-DA2F-CA85-CB7E-E926FA58C7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76200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4" name="Line 331">
              <a:extLst>
                <a:ext uri="{FF2B5EF4-FFF2-40B4-BE49-F238E27FC236}">
                  <a16:creationId xmlns:a16="http://schemas.microsoft.com/office/drawing/2014/main" id="{8513C186-A6D7-1D7F-A0FC-01F342F766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2232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5" name="Line 332">
              <a:extLst>
                <a:ext uri="{FF2B5EF4-FFF2-40B4-BE49-F238E27FC236}">
                  <a16:creationId xmlns:a16="http://schemas.microsoft.com/office/drawing/2014/main" id="{E3890274-BB52-3100-0769-EC54B1D20C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882651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6" name="Line 333">
              <a:extLst>
                <a:ext uri="{FF2B5EF4-FFF2-40B4-BE49-F238E27FC236}">
                  <a16:creationId xmlns:a16="http://schemas.microsoft.com/office/drawing/2014/main" id="{769F68BA-FCF8-E852-11E8-E189943070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942976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7" name="Line 334">
              <a:extLst>
                <a:ext uri="{FF2B5EF4-FFF2-40B4-BE49-F238E27FC236}">
                  <a16:creationId xmlns:a16="http://schemas.microsoft.com/office/drawing/2014/main" id="{0264B2C8-E193-AD60-8792-5C577CC1D1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68851" y="1001713"/>
              <a:ext cx="15875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8" name="Freeform 335">
              <a:extLst>
                <a:ext uri="{FF2B5EF4-FFF2-40B4-BE49-F238E27FC236}">
                  <a16:creationId xmlns:a16="http://schemas.microsoft.com/office/drawing/2014/main" id="{AAB0D7D6-403D-264C-E693-796A373D6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6" y="1017588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9" name="Freeform 336">
              <a:extLst>
                <a:ext uri="{FF2B5EF4-FFF2-40B4-BE49-F238E27FC236}">
                  <a16:creationId xmlns:a16="http://schemas.microsoft.com/office/drawing/2014/main" id="{DEDA9AF1-019A-A29C-C491-A214C0599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1" y="882651"/>
              <a:ext cx="90488" cy="157163"/>
            </a:xfrm>
            <a:custGeom>
              <a:avLst/>
              <a:gdLst>
                <a:gd name="T0" fmla="*/ 0 w 57"/>
                <a:gd name="T1" fmla="*/ 99 h 99"/>
                <a:gd name="T2" fmla="*/ 0 w 57"/>
                <a:gd name="T3" fmla="*/ 38 h 99"/>
                <a:gd name="T4" fmla="*/ 57 w 57"/>
                <a:gd name="T5" fmla="*/ 0 h 99"/>
                <a:gd name="T6" fmla="*/ 57 w 57"/>
                <a:gd name="T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9">
                  <a:moveTo>
                    <a:pt x="0" y="99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6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0" name="Freeform 337">
              <a:extLst>
                <a:ext uri="{FF2B5EF4-FFF2-40B4-BE49-F238E27FC236}">
                  <a16:creationId xmlns:a16="http://schemas.microsoft.com/office/drawing/2014/main" id="{8556F024-776F-4484-F5F3-A328799CA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4" y="973138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51" name="Group 1250">
            <a:extLst>
              <a:ext uri="{FF2B5EF4-FFF2-40B4-BE49-F238E27FC236}">
                <a16:creationId xmlns:a16="http://schemas.microsoft.com/office/drawing/2014/main" id="{0FD4DCFF-ABC1-27BD-B7CD-B322BDE53A14}"/>
              </a:ext>
            </a:extLst>
          </p:cNvPr>
          <p:cNvGrpSpPr/>
          <p:nvPr/>
        </p:nvGrpSpPr>
        <p:grpSpPr>
          <a:xfrm>
            <a:off x="9171464" y="4602914"/>
            <a:ext cx="593591" cy="433203"/>
            <a:chOff x="4872038" y="2895601"/>
            <a:chExt cx="285750" cy="346075"/>
          </a:xfrm>
        </p:grpSpPr>
        <p:sp>
          <p:nvSpPr>
            <p:cNvPr id="1252" name="Freeform 295">
              <a:extLst>
                <a:ext uri="{FF2B5EF4-FFF2-40B4-BE49-F238E27FC236}">
                  <a16:creationId xmlns:a16="http://schemas.microsoft.com/office/drawing/2014/main" id="{A94BBB91-AAF1-EC48-27F6-1C9D3F9A6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2363" y="3135313"/>
              <a:ext cx="44450" cy="46038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0 h 12"/>
                <a:gd name="T10" fmla="*/ 12 w 12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9"/>
                    <a:pt x="9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" y="0"/>
                    <a:pt x="11" y="0"/>
                    <a:pt x="12" y="0"/>
                  </a:cubicBezTo>
                  <a:cubicBezTo>
                    <a:pt x="12" y="2"/>
                    <a:pt x="12" y="4"/>
                    <a:pt x="12" y="6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  <p:sp>
          <p:nvSpPr>
            <p:cNvPr id="1253" name="Freeform 296">
              <a:extLst>
                <a:ext uri="{FF2B5EF4-FFF2-40B4-BE49-F238E27FC236}">
                  <a16:creationId xmlns:a16="http://schemas.microsoft.com/office/drawing/2014/main" id="{F6C69D52-56BE-9211-723C-0EC144B33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263" y="3090863"/>
              <a:ext cx="46038" cy="44450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0 h 12"/>
                <a:gd name="T10" fmla="*/ 12 w 12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9"/>
                    <a:pt x="9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" y="0"/>
                    <a:pt x="11" y="0"/>
                    <a:pt x="12" y="0"/>
                  </a:cubicBezTo>
                  <a:cubicBezTo>
                    <a:pt x="12" y="2"/>
                    <a:pt x="12" y="4"/>
                    <a:pt x="12" y="6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4" name="Freeform 297">
              <a:extLst>
                <a:ext uri="{FF2B5EF4-FFF2-40B4-BE49-F238E27FC236}">
                  <a16:creationId xmlns:a16="http://schemas.microsoft.com/office/drawing/2014/main" id="{313EDA45-DEE1-E272-9C9F-5B0D5D61F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3000376"/>
              <a:ext cx="90488" cy="142875"/>
            </a:xfrm>
            <a:custGeom>
              <a:avLst/>
              <a:gdLst>
                <a:gd name="T0" fmla="*/ 0 w 57"/>
                <a:gd name="T1" fmla="*/ 90 h 90"/>
                <a:gd name="T2" fmla="*/ 0 w 57"/>
                <a:gd name="T3" fmla="*/ 26 h 90"/>
                <a:gd name="T4" fmla="*/ 57 w 57"/>
                <a:gd name="T5" fmla="*/ 0 h 90"/>
                <a:gd name="T6" fmla="*/ 57 w 57"/>
                <a:gd name="T7" fmla="*/ 6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0">
                  <a:moveTo>
                    <a:pt x="0" y="90"/>
                  </a:moveTo>
                  <a:lnTo>
                    <a:pt x="0" y="26"/>
                  </a:lnTo>
                  <a:lnTo>
                    <a:pt x="57" y="0"/>
                  </a:lnTo>
                  <a:lnTo>
                    <a:pt x="57" y="62"/>
                  </a:lnTo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5" name="Freeform 298">
              <a:extLst>
                <a:ext uri="{FF2B5EF4-FFF2-40B4-BE49-F238E27FC236}">
                  <a16:creationId xmlns:a16="http://schemas.microsoft.com/office/drawing/2014/main" id="{AE81DD29-A6F9-8806-89F3-2D556B7CB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38" y="2895601"/>
              <a:ext cx="285750" cy="346075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6" name="Line 299">
              <a:extLst>
                <a:ext uri="{FF2B5EF4-FFF2-40B4-BE49-F238E27FC236}">
                  <a16:creationId xmlns:a16="http://schemas.microsoft.com/office/drawing/2014/main" id="{ABE85238-CD3E-B0FA-FE96-DF5E508870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2200" y="2925763"/>
              <a:ext cx="239713" cy="0"/>
            </a:xfrm>
            <a:prstGeom prst="lin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3643506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Dashboard 4">
            <a:extLst>
              <a:ext uri="{FF2B5EF4-FFF2-40B4-BE49-F238E27FC236}">
                <a16:creationId xmlns:a16="http://schemas.microsoft.com/office/drawing/2014/main" id="{A6E9A33E-4C80-46FC-B801-DF0862B823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2983" y="0"/>
            <a:ext cx="91460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2517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EB10738E-EDB8-89E5-6546-1ADC8EA0A07E}"/>
              </a:ext>
            </a:extLst>
          </p:cNvPr>
          <p:cNvSpPr/>
          <p:nvPr/>
        </p:nvSpPr>
        <p:spPr>
          <a:xfrm>
            <a:off x="3413759" y="2056841"/>
            <a:ext cx="8347851" cy="1224845"/>
          </a:xfrm>
          <a:prstGeom prst="roundRect">
            <a:avLst>
              <a:gd name="adj" fmla="val 10874"/>
            </a:avLst>
          </a:prstGeom>
          <a:solidFill>
            <a:srgbClr val="0A0A0B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5" name="Rectangle: Rounded Corners 1034">
            <a:extLst>
              <a:ext uri="{FF2B5EF4-FFF2-40B4-BE49-F238E27FC236}">
                <a16:creationId xmlns:a16="http://schemas.microsoft.com/office/drawing/2014/main" id="{3C4843A5-36AF-20B5-9F79-B52F0C2A1844}"/>
              </a:ext>
            </a:extLst>
          </p:cNvPr>
          <p:cNvSpPr/>
          <p:nvPr/>
        </p:nvSpPr>
        <p:spPr>
          <a:xfrm>
            <a:off x="3413759" y="3473244"/>
            <a:ext cx="8347851" cy="1224845"/>
          </a:xfrm>
          <a:prstGeom prst="roundRect">
            <a:avLst>
              <a:gd name="adj" fmla="val 10874"/>
            </a:avLst>
          </a:prstGeom>
          <a:solidFill>
            <a:srgbClr val="0A0A0B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68" name="Rectangle: Rounded Corners 1067">
            <a:extLst>
              <a:ext uri="{FF2B5EF4-FFF2-40B4-BE49-F238E27FC236}">
                <a16:creationId xmlns:a16="http://schemas.microsoft.com/office/drawing/2014/main" id="{AE25C815-3712-C36F-B344-3CC7D47D1451}"/>
              </a:ext>
            </a:extLst>
          </p:cNvPr>
          <p:cNvSpPr/>
          <p:nvPr/>
        </p:nvSpPr>
        <p:spPr>
          <a:xfrm>
            <a:off x="3413759" y="4889647"/>
            <a:ext cx="8347851" cy="1224845"/>
          </a:xfrm>
          <a:prstGeom prst="roundRect">
            <a:avLst>
              <a:gd name="adj" fmla="val 14340"/>
            </a:avLst>
          </a:prstGeom>
          <a:solidFill>
            <a:srgbClr val="0A0A0B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0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500270" y="388280"/>
            <a:ext cx="20783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rwebsite.co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46B618-2CF9-7941-4EA2-0BAE302EE4DF}"/>
              </a:ext>
            </a:extLst>
          </p:cNvPr>
          <p:cNvSpPr txBox="1"/>
          <p:nvPr/>
        </p:nvSpPr>
        <p:spPr>
          <a:xfrm>
            <a:off x="383220" y="2364941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ylis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149923D-7CD8-C208-4B02-AF373B7CF240}"/>
              </a:ext>
            </a:extLst>
          </p:cNvPr>
          <p:cNvSpPr txBox="1"/>
          <p:nvPr/>
        </p:nvSpPr>
        <p:spPr>
          <a:xfrm>
            <a:off x="430390" y="3031498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 Finding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C2B5659-0C68-B0EC-F6B0-5923EC911DFC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clusion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: Top Corners Rounded 59">
            <a:extLst>
              <a:ext uri="{FF2B5EF4-FFF2-40B4-BE49-F238E27FC236}">
                <a16:creationId xmlns:a16="http://schemas.microsoft.com/office/drawing/2014/main" id="{A8B32FA7-9DD5-84FD-B013-2AC801BA3D78}"/>
              </a:ext>
            </a:extLst>
          </p:cNvPr>
          <p:cNvSpPr/>
          <p:nvPr/>
        </p:nvSpPr>
        <p:spPr>
          <a:xfrm>
            <a:off x="11079126" y="6308725"/>
            <a:ext cx="777912" cy="549275"/>
          </a:xfrm>
          <a:prstGeom prst="round2SameRect">
            <a:avLst/>
          </a:prstGeom>
          <a:solidFill>
            <a:srgbClr val="1DB9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5" name="Slide Number Placeholder 4">
            <a:extLst>
              <a:ext uri="{FF2B5EF4-FFF2-40B4-BE49-F238E27FC236}">
                <a16:creationId xmlns:a16="http://schemas.microsoft.com/office/drawing/2014/main" id="{5CA130BB-4BBB-5DA4-96B0-88C5D390A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4553" y="6400800"/>
            <a:ext cx="587058" cy="365125"/>
          </a:xfrm>
        </p:spPr>
        <p:txBody>
          <a:bodyPr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7D8155-ABD6-F7A4-7BD8-AE4C6523263F}"/>
              </a:ext>
            </a:extLst>
          </p:cNvPr>
          <p:cNvSpPr txBox="1"/>
          <p:nvPr/>
        </p:nvSpPr>
        <p:spPr>
          <a:xfrm>
            <a:off x="383220" y="132298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out Us</a:t>
            </a:r>
          </a:p>
        </p:txBody>
      </p: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B529057-8E8F-C756-316D-3D36CCE9A37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Album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17212D6-0B40-9DE6-5EAE-AB1F22D6F44B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5" name="Freeform 244">
              <a:extLst>
                <a:ext uri="{FF2B5EF4-FFF2-40B4-BE49-F238E27FC236}">
                  <a16:creationId xmlns:a16="http://schemas.microsoft.com/office/drawing/2014/main" id="{BD5D1E91-DF1E-3A83-D016-43C9CC97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245">
              <a:extLst>
                <a:ext uri="{FF2B5EF4-FFF2-40B4-BE49-F238E27FC236}">
                  <a16:creationId xmlns:a16="http://schemas.microsoft.com/office/drawing/2014/main" id="{26762164-400E-E6AF-C554-F89B22CC8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246">
              <a:extLst>
                <a:ext uri="{FF2B5EF4-FFF2-40B4-BE49-F238E27FC236}">
                  <a16:creationId xmlns:a16="http://schemas.microsoft.com/office/drawing/2014/main" id="{70A91313-16DC-0CBF-8557-5C3B6B6EEB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247">
              <a:extLst>
                <a:ext uri="{FF2B5EF4-FFF2-40B4-BE49-F238E27FC236}">
                  <a16:creationId xmlns:a16="http://schemas.microsoft.com/office/drawing/2014/main" id="{9D115F21-E694-E7DA-E14C-5A78349903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248">
              <a:extLst>
                <a:ext uri="{FF2B5EF4-FFF2-40B4-BE49-F238E27FC236}">
                  <a16:creationId xmlns:a16="http://schemas.microsoft.com/office/drawing/2014/main" id="{D54B7384-AB70-82C5-E34A-AF92FEA96A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249">
              <a:extLst>
                <a:ext uri="{FF2B5EF4-FFF2-40B4-BE49-F238E27FC236}">
                  <a16:creationId xmlns:a16="http://schemas.microsoft.com/office/drawing/2014/main" id="{AB1ECDFF-E962-5F9C-2B64-7A50FF41C7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50">
              <a:extLst>
                <a:ext uri="{FF2B5EF4-FFF2-40B4-BE49-F238E27FC236}">
                  <a16:creationId xmlns:a16="http://schemas.microsoft.com/office/drawing/2014/main" id="{539C8972-29D3-D925-ED9B-54130F2FCE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251">
              <a:extLst>
                <a:ext uri="{FF2B5EF4-FFF2-40B4-BE49-F238E27FC236}">
                  <a16:creationId xmlns:a16="http://schemas.microsoft.com/office/drawing/2014/main" id="{E7701B33-F717-C098-51EF-20095EECEE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252">
              <a:extLst>
                <a:ext uri="{FF2B5EF4-FFF2-40B4-BE49-F238E27FC236}">
                  <a16:creationId xmlns:a16="http://schemas.microsoft.com/office/drawing/2014/main" id="{534D679F-BFDE-B875-C9D8-CCEB3156FE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9011328-BC19-9759-C4A2-A876E6C72E81}"/>
              </a:ext>
            </a:extLst>
          </p:cNvPr>
          <p:cNvSpPr txBox="1"/>
          <p:nvPr/>
        </p:nvSpPr>
        <p:spPr>
          <a:xfrm>
            <a:off x="3474402" y="388280"/>
            <a:ext cx="355187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indings</a:t>
            </a:r>
          </a:p>
        </p:txBody>
      </p:sp>
      <p:pic>
        <p:nvPicPr>
          <p:cNvPr id="1025" name="Picture 1024" descr="Shape&#10;&#10;Description automatically generated with low confidence">
            <a:extLst>
              <a:ext uri="{FF2B5EF4-FFF2-40B4-BE49-F238E27FC236}">
                <a16:creationId xmlns:a16="http://schemas.microsoft.com/office/drawing/2014/main" id="{6543E4F6-DC4E-CC73-8C10-8245CD6F1B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66037FB-ECC6-A931-2CFC-20FD25D6E695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commendation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D8AC82B-6FCD-87E2-ECB4-A2640896D6B6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52" name="Freeform 5">
              <a:extLst>
                <a:ext uri="{FF2B5EF4-FFF2-40B4-BE49-F238E27FC236}">
                  <a16:creationId xmlns:a16="http://schemas.microsoft.com/office/drawing/2014/main" id="{864CA07E-E9F9-EE8C-4891-74A1B589E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FB5083AF-4F0F-7660-0A2F-9A64350D4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7">
              <a:extLst>
                <a:ext uri="{FF2B5EF4-FFF2-40B4-BE49-F238E27FC236}">
                  <a16:creationId xmlns:a16="http://schemas.microsoft.com/office/drawing/2014/main" id="{02982F14-40C8-954C-4458-67B1606529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Line 8">
              <a:extLst>
                <a:ext uri="{FF2B5EF4-FFF2-40B4-BE49-F238E27FC236}">
                  <a16:creationId xmlns:a16="http://schemas.microsoft.com/office/drawing/2014/main" id="{BB6F365D-E5CB-D39A-07BB-B76337FF0A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9">
              <a:extLst>
                <a:ext uri="{FF2B5EF4-FFF2-40B4-BE49-F238E27FC236}">
                  <a16:creationId xmlns:a16="http://schemas.microsoft.com/office/drawing/2014/main" id="{55C4E5FA-8D3C-6D1F-3004-40EED5E7CB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Line 10">
              <a:extLst>
                <a:ext uri="{FF2B5EF4-FFF2-40B4-BE49-F238E27FC236}">
                  <a16:creationId xmlns:a16="http://schemas.microsoft.com/office/drawing/2014/main" id="{0BA7CCD2-D538-2ED9-0F53-BF05F9E8D8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11">
              <a:extLst>
                <a:ext uri="{FF2B5EF4-FFF2-40B4-BE49-F238E27FC236}">
                  <a16:creationId xmlns:a16="http://schemas.microsoft.com/office/drawing/2014/main" id="{DE5BC279-3B3A-63A1-D805-CEB6821BCA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Line 12">
              <a:extLst>
                <a:ext uri="{FF2B5EF4-FFF2-40B4-BE49-F238E27FC236}">
                  <a16:creationId xmlns:a16="http://schemas.microsoft.com/office/drawing/2014/main" id="{D424D6DF-3C9A-9464-5524-B2A111FA12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3">
              <a:extLst>
                <a:ext uri="{FF2B5EF4-FFF2-40B4-BE49-F238E27FC236}">
                  <a16:creationId xmlns:a16="http://schemas.microsoft.com/office/drawing/2014/main" id="{03650281-56AD-7201-0D96-99C36EEEBB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4" name="Line 14">
              <a:extLst>
                <a:ext uri="{FF2B5EF4-FFF2-40B4-BE49-F238E27FC236}">
                  <a16:creationId xmlns:a16="http://schemas.microsoft.com/office/drawing/2014/main" id="{654E8180-FEA8-216C-549C-3DF84D3602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6" name="Line 15">
              <a:extLst>
                <a:ext uri="{FF2B5EF4-FFF2-40B4-BE49-F238E27FC236}">
                  <a16:creationId xmlns:a16="http://schemas.microsoft.com/office/drawing/2014/main" id="{B02867B4-BAB1-8A29-811C-C513EDAABDE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7" name="Line 16">
              <a:extLst>
                <a:ext uri="{FF2B5EF4-FFF2-40B4-BE49-F238E27FC236}">
                  <a16:creationId xmlns:a16="http://schemas.microsoft.com/office/drawing/2014/main" id="{CF045351-5FF3-6A8B-1731-A71B0A8CE0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8" name="Line 17">
              <a:extLst>
                <a:ext uri="{FF2B5EF4-FFF2-40B4-BE49-F238E27FC236}">
                  <a16:creationId xmlns:a16="http://schemas.microsoft.com/office/drawing/2014/main" id="{CC9201B5-08D0-A21B-F335-ADADC42ACA2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5101762-B782-AAF5-16A8-445273E02128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7" name="Freeform 197">
              <a:extLst>
                <a:ext uri="{FF2B5EF4-FFF2-40B4-BE49-F238E27FC236}">
                  <a16:creationId xmlns:a16="http://schemas.microsoft.com/office/drawing/2014/main" id="{22717426-2678-1659-7EAE-B3CB7F8CB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198">
              <a:extLst>
                <a:ext uri="{FF2B5EF4-FFF2-40B4-BE49-F238E27FC236}">
                  <a16:creationId xmlns:a16="http://schemas.microsoft.com/office/drawing/2014/main" id="{81C80127-C630-AB2E-5726-9906FAA68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Rectangle 199">
              <a:extLst>
                <a:ext uri="{FF2B5EF4-FFF2-40B4-BE49-F238E27FC236}">
                  <a16:creationId xmlns:a16="http://schemas.microsoft.com/office/drawing/2014/main" id="{AAF951CA-EEC1-5F30-6B84-7AEF8CAED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00">
              <a:extLst>
                <a:ext uri="{FF2B5EF4-FFF2-40B4-BE49-F238E27FC236}">
                  <a16:creationId xmlns:a16="http://schemas.microsoft.com/office/drawing/2014/main" id="{FCC84A97-55C7-2D4A-8EEA-31D10E867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01">
              <a:extLst>
                <a:ext uri="{FF2B5EF4-FFF2-40B4-BE49-F238E27FC236}">
                  <a16:creationId xmlns:a16="http://schemas.microsoft.com/office/drawing/2014/main" id="{312E1503-65E9-BC09-6F63-9E9301C73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8847BC9-D941-7364-7AFE-0FD60EEB5DFA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1121" name="Oval 187">
              <a:extLst>
                <a:ext uri="{FF2B5EF4-FFF2-40B4-BE49-F238E27FC236}">
                  <a16:creationId xmlns:a16="http://schemas.microsoft.com/office/drawing/2014/main" id="{18FA4C6E-CCF2-1CEA-79F4-5168D84C2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2" name="Oval 188">
              <a:extLst>
                <a:ext uri="{FF2B5EF4-FFF2-40B4-BE49-F238E27FC236}">
                  <a16:creationId xmlns:a16="http://schemas.microsoft.com/office/drawing/2014/main" id="{6FCC58F4-DCB0-C249-2A67-A8853D5D9E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Oval 189">
              <a:extLst>
                <a:ext uri="{FF2B5EF4-FFF2-40B4-BE49-F238E27FC236}">
                  <a16:creationId xmlns:a16="http://schemas.microsoft.com/office/drawing/2014/main" id="{1ABBACAE-425A-D5C3-1C5C-95F5BF087F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0" name="Freeform 190">
              <a:extLst>
                <a:ext uri="{FF2B5EF4-FFF2-40B4-BE49-F238E27FC236}">
                  <a16:creationId xmlns:a16="http://schemas.microsoft.com/office/drawing/2014/main" id="{5CDE8969-8114-A3D5-3EE7-DFBCB85C1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1" name="Freeform 191">
              <a:extLst>
                <a:ext uri="{FF2B5EF4-FFF2-40B4-BE49-F238E27FC236}">
                  <a16:creationId xmlns:a16="http://schemas.microsoft.com/office/drawing/2014/main" id="{FF157DA6-D56F-D74A-FE48-A319C8B30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192">
              <a:extLst>
                <a:ext uri="{FF2B5EF4-FFF2-40B4-BE49-F238E27FC236}">
                  <a16:creationId xmlns:a16="http://schemas.microsoft.com/office/drawing/2014/main" id="{36A1F845-9C4B-D825-F2AD-9872D76C5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39" name="Picture 38" descr="A person playing a music instrument&#10;&#10;Description automatically generated with low confidence">
            <a:extLst>
              <a:ext uri="{FF2B5EF4-FFF2-40B4-BE49-F238E27FC236}">
                <a16:creationId xmlns:a16="http://schemas.microsoft.com/office/drawing/2014/main" id="{A4CFAD78-396C-FE3B-DD46-AC5FE99DD1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89" t="7139" r="18586" b="3422"/>
          <a:stretch>
            <a:fillRect/>
          </a:stretch>
        </p:blipFill>
        <p:spPr>
          <a:xfrm>
            <a:off x="3616506" y="2237236"/>
            <a:ext cx="864054" cy="864054"/>
          </a:xfrm>
          <a:custGeom>
            <a:avLst/>
            <a:gdLst>
              <a:gd name="connsiteX0" fmla="*/ 724325 w 6133671"/>
              <a:gd name="connsiteY0" fmla="*/ 0 h 6133671"/>
              <a:gd name="connsiteX1" fmla="*/ 5409346 w 6133671"/>
              <a:gd name="connsiteY1" fmla="*/ 0 h 6133671"/>
              <a:gd name="connsiteX2" fmla="*/ 6133671 w 6133671"/>
              <a:gd name="connsiteY2" fmla="*/ 724325 h 6133671"/>
              <a:gd name="connsiteX3" fmla="*/ 6133671 w 6133671"/>
              <a:gd name="connsiteY3" fmla="*/ 5409346 h 6133671"/>
              <a:gd name="connsiteX4" fmla="*/ 5409346 w 6133671"/>
              <a:gd name="connsiteY4" fmla="*/ 6133671 h 6133671"/>
              <a:gd name="connsiteX5" fmla="*/ 724325 w 6133671"/>
              <a:gd name="connsiteY5" fmla="*/ 6133671 h 6133671"/>
              <a:gd name="connsiteX6" fmla="*/ 0 w 6133671"/>
              <a:gd name="connsiteY6" fmla="*/ 5409346 h 6133671"/>
              <a:gd name="connsiteX7" fmla="*/ 0 w 6133671"/>
              <a:gd name="connsiteY7" fmla="*/ 724325 h 6133671"/>
              <a:gd name="connsiteX8" fmla="*/ 724325 w 6133671"/>
              <a:gd name="connsiteY8" fmla="*/ 0 h 613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3671" h="6133671">
                <a:moveTo>
                  <a:pt x="724325" y="0"/>
                </a:moveTo>
                <a:lnTo>
                  <a:pt x="5409346" y="0"/>
                </a:lnTo>
                <a:cubicBezTo>
                  <a:pt x="5809380" y="0"/>
                  <a:pt x="6133671" y="324291"/>
                  <a:pt x="6133671" y="724325"/>
                </a:cubicBezTo>
                <a:lnTo>
                  <a:pt x="6133671" y="5409346"/>
                </a:lnTo>
                <a:cubicBezTo>
                  <a:pt x="6133671" y="5809380"/>
                  <a:pt x="5809380" y="6133671"/>
                  <a:pt x="5409346" y="6133671"/>
                </a:cubicBezTo>
                <a:lnTo>
                  <a:pt x="724325" y="6133671"/>
                </a:lnTo>
                <a:cubicBezTo>
                  <a:pt x="324291" y="6133671"/>
                  <a:pt x="0" y="5809380"/>
                  <a:pt x="0" y="5409346"/>
                </a:cubicBezTo>
                <a:lnTo>
                  <a:pt x="0" y="724325"/>
                </a:lnTo>
                <a:cubicBezTo>
                  <a:pt x="0" y="324291"/>
                  <a:pt x="324291" y="0"/>
                  <a:pt x="724325" y="0"/>
                </a:cubicBezTo>
                <a:close/>
              </a:path>
            </a:pathLst>
          </a:custGeom>
        </p:spPr>
      </p:pic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30B9069-4CFE-AA0A-AFD3-F1CD3E5E78A1}"/>
              </a:ext>
            </a:extLst>
          </p:cNvPr>
          <p:cNvSpPr/>
          <p:nvPr/>
        </p:nvSpPr>
        <p:spPr>
          <a:xfrm>
            <a:off x="3616506" y="2237806"/>
            <a:ext cx="864054" cy="862915"/>
          </a:xfrm>
          <a:prstGeom prst="roundRect">
            <a:avLst>
              <a:gd name="adj" fmla="val 7408"/>
            </a:avLst>
          </a:prstGeom>
          <a:gradFill>
            <a:gsLst>
              <a:gs pos="0">
                <a:schemeClr val="tx1"/>
              </a:gs>
              <a:gs pos="100000">
                <a:srgbClr val="191414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45" descr="A picture containing engineering drawing&#10;&#10;Description automatically generated">
            <a:extLst>
              <a:ext uri="{FF2B5EF4-FFF2-40B4-BE49-F238E27FC236}">
                <a16:creationId xmlns:a16="http://schemas.microsoft.com/office/drawing/2014/main" id="{394957E0-A41A-9549-19A1-FAFE657749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2" t="13134" r="20542" b="20121"/>
          <a:stretch>
            <a:fillRect/>
          </a:stretch>
        </p:blipFill>
        <p:spPr>
          <a:xfrm>
            <a:off x="3616506" y="3654209"/>
            <a:ext cx="864054" cy="862915"/>
          </a:xfrm>
          <a:custGeom>
            <a:avLst/>
            <a:gdLst>
              <a:gd name="connsiteX0" fmla="*/ 93592 w 1265062"/>
              <a:gd name="connsiteY0" fmla="*/ 0 h 1263394"/>
              <a:gd name="connsiteX1" fmla="*/ 1171470 w 1265062"/>
              <a:gd name="connsiteY1" fmla="*/ 0 h 1263394"/>
              <a:gd name="connsiteX2" fmla="*/ 1265062 w 1265062"/>
              <a:gd name="connsiteY2" fmla="*/ 93592 h 1263394"/>
              <a:gd name="connsiteX3" fmla="*/ 1265062 w 1265062"/>
              <a:gd name="connsiteY3" fmla="*/ 1169802 h 1263394"/>
              <a:gd name="connsiteX4" fmla="*/ 1171470 w 1265062"/>
              <a:gd name="connsiteY4" fmla="*/ 1263394 h 1263394"/>
              <a:gd name="connsiteX5" fmla="*/ 93592 w 1265062"/>
              <a:gd name="connsiteY5" fmla="*/ 1263394 h 1263394"/>
              <a:gd name="connsiteX6" fmla="*/ 0 w 1265062"/>
              <a:gd name="connsiteY6" fmla="*/ 1169802 h 1263394"/>
              <a:gd name="connsiteX7" fmla="*/ 0 w 1265062"/>
              <a:gd name="connsiteY7" fmla="*/ 93592 h 1263394"/>
              <a:gd name="connsiteX8" fmla="*/ 93592 w 1265062"/>
              <a:gd name="connsiteY8" fmla="*/ 0 h 1263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65062" h="1263394">
                <a:moveTo>
                  <a:pt x="93592" y="0"/>
                </a:moveTo>
                <a:lnTo>
                  <a:pt x="1171470" y="0"/>
                </a:lnTo>
                <a:cubicBezTo>
                  <a:pt x="1223159" y="0"/>
                  <a:pt x="1265062" y="41903"/>
                  <a:pt x="1265062" y="93592"/>
                </a:cubicBezTo>
                <a:lnTo>
                  <a:pt x="1265062" y="1169802"/>
                </a:lnTo>
                <a:cubicBezTo>
                  <a:pt x="1265062" y="1221491"/>
                  <a:pt x="1223159" y="1263394"/>
                  <a:pt x="1171470" y="1263394"/>
                </a:cubicBezTo>
                <a:lnTo>
                  <a:pt x="93592" y="1263394"/>
                </a:lnTo>
                <a:cubicBezTo>
                  <a:pt x="41903" y="1263394"/>
                  <a:pt x="0" y="1221491"/>
                  <a:pt x="0" y="1169802"/>
                </a:cubicBezTo>
                <a:lnTo>
                  <a:pt x="0" y="93592"/>
                </a:lnTo>
                <a:cubicBezTo>
                  <a:pt x="0" y="41903"/>
                  <a:pt x="41903" y="0"/>
                  <a:pt x="93592" y="0"/>
                </a:cubicBezTo>
                <a:close/>
              </a:path>
            </a:pathLst>
          </a:custGeom>
        </p:spPr>
      </p:pic>
      <p:pic>
        <p:nvPicPr>
          <p:cNvPr id="48" name="Picture 47" descr="A group of people raising their hands&#10;&#10;Description automatically generated with medium confidence">
            <a:extLst>
              <a:ext uri="{FF2B5EF4-FFF2-40B4-BE49-F238E27FC236}">
                <a16:creationId xmlns:a16="http://schemas.microsoft.com/office/drawing/2014/main" id="{B5015906-C19C-FF04-1C5D-5748B69714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5" t="29940" r="36941" b="3691"/>
          <a:stretch>
            <a:fillRect/>
          </a:stretch>
        </p:blipFill>
        <p:spPr>
          <a:xfrm>
            <a:off x="3616506" y="5070612"/>
            <a:ext cx="864054" cy="862915"/>
          </a:xfrm>
          <a:custGeom>
            <a:avLst/>
            <a:gdLst>
              <a:gd name="connsiteX0" fmla="*/ 93592 w 1265062"/>
              <a:gd name="connsiteY0" fmla="*/ 0 h 1263394"/>
              <a:gd name="connsiteX1" fmla="*/ 1171470 w 1265062"/>
              <a:gd name="connsiteY1" fmla="*/ 0 h 1263394"/>
              <a:gd name="connsiteX2" fmla="*/ 1265062 w 1265062"/>
              <a:gd name="connsiteY2" fmla="*/ 93592 h 1263394"/>
              <a:gd name="connsiteX3" fmla="*/ 1265062 w 1265062"/>
              <a:gd name="connsiteY3" fmla="*/ 1169802 h 1263394"/>
              <a:gd name="connsiteX4" fmla="*/ 1171470 w 1265062"/>
              <a:gd name="connsiteY4" fmla="*/ 1263394 h 1263394"/>
              <a:gd name="connsiteX5" fmla="*/ 93592 w 1265062"/>
              <a:gd name="connsiteY5" fmla="*/ 1263394 h 1263394"/>
              <a:gd name="connsiteX6" fmla="*/ 0 w 1265062"/>
              <a:gd name="connsiteY6" fmla="*/ 1169802 h 1263394"/>
              <a:gd name="connsiteX7" fmla="*/ 0 w 1265062"/>
              <a:gd name="connsiteY7" fmla="*/ 93592 h 1263394"/>
              <a:gd name="connsiteX8" fmla="*/ 93592 w 1265062"/>
              <a:gd name="connsiteY8" fmla="*/ 0 h 1263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65062" h="1263394">
                <a:moveTo>
                  <a:pt x="93592" y="0"/>
                </a:moveTo>
                <a:lnTo>
                  <a:pt x="1171470" y="0"/>
                </a:lnTo>
                <a:cubicBezTo>
                  <a:pt x="1223159" y="0"/>
                  <a:pt x="1265062" y="41903"/>
                  <a:pt x="1265062" y="93592"/>
                </a:cubicBezTo>
                <a:lnTo>
                  <a:pt x="1265062" y="1169802"/>
                </a:lnTo>
                <a:cubicBezTo>
                  <a:pt x="1265062" y="1221491"/>
                  <a:pt x="1223159" y="1263394"/>
                  <a:pt x="1171470" y="1263394"/>
                </a:cubicBezTo>
                <a:lnTo>
                  <a:pt x="93592" y="1263394"/>
                </a:lnTo>
                <a:cubicBezTo>
                  <a:pt x="41903" y="1263394"/>
                  <a:pt x="0" y="1221491"/>
                  <a:pt x="0" y="1169802"/>
                </a:cubicBezTo>
                <a:lnTo>
                  <a:pt x="0" y="93592"/>
                </a:lnTo>
                <a:cubicBezTo>
                  <a:pt x="0" y="41903"/>
                  <a:pt x="41903" y="0"/>
                  <a:pt x="93592" y="0"/>
                </a:cubicBezTo>
                <a:close/>
              </a:path>
            </a:pathLst>
          </a:custGeom>
        </p:spPr>
      </p:pic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55FF4F09-3D02-E981-7086-E17762D56C3B}"/>
              </a:ext>
            </a:extLst>
          </p:cNvPr>
          <p:cNvSpPr/>
          <p:nvPr/>
        </p:nvSpPr>
        <p:spPr>
          <a:xfrm>
            <a:off x="3616506" y="3654209"/>
            <a:ext cx="864054" cy="862915"/>
          </a:xfrm>
          <a:prstGeom prst="roundRect">
            <a:avLst>
              <a:gd name="adj" fmla="val 7408"/>
            </a:avLst>
          </a:prstGeom>
          <a:gradFill>
            <a:gsLst>
              <a:gs pos="0">
                <a:schemeClr val="tx1"/>
              </a:gs>
              <a:gs pos="100000">
                <a:srgbClr val="191414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B822E449-CCE3-393D-B76A-2AEA7897A42C}"/>
              </a:ext>
            </a:extLst>
          </p:cNvPr>
          <p:cNvSpPr/>
          <p:nvPr/>
        </p:nvSpPr>
        <p:spPr>
          <a:xfrm>
            <a:off x="3616506" y="5070612"/>
            <a:ext cx="864054" cy="862915"/>
          </a:xfrm>
          <a:prstGeom prst="roundRect">
            <a:avLst>
              <a:gd name="adj" fmla="val 7408"/>
            </a:avLst>
          </a:prstGeom>
          <a:gradFill>
            <a:gsLst>
              <a:gs pos="0">
                <a:schemeClr val="tx1"/>
              </a:gs>
              <a:gs pos="100000">
                <a:srgbClr val="191414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73" name="TextBox 1072">
            <a:extLst>
              <a:ext uri="{FF2B5EF4-FFF2-40B4-BE49-F238E27FC236}">
                <a16:creationId xmlns:a16="http://schemas.microsoft.com/office/drawing/2014/main" id="{BF9B8ACB-6FA4-E498-26AE-DC0D9241F1CE}"/>
              </a:ext>
            </a:extLst>
          </p:cNvPr>
          <p:cNvSpPr txBox="1"/>
          <p:nvPr/>
        </p:nvSpPr>
        <p:spPr>
          <a:xfrm>
            <a:off x="4861218" y="2217258"/>
            <a:ext cx="2342856" cy="42810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1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ngs</a:t>
            </a:r>
          </a:p>
        </p:txBody>
      </p:sp>
      <p:sp>
        <p:nvSpPr>
          <p:cNvPr id="1075" name="TextBox 1074">
            <a:extLst>
              <a:ext uri="{FF2B5EF4-FFF2-40B4-BE49-F238E27FC236}">
                <a16:creationId xmlns:a16="http://schemas.microsoft.com/office/drawing/2014/main" id="{2AE14AAC-2A05-EE31-39EC-A01D717D1881}"/>
              </a:ext>
            </a:extLst>
          </p:cNvPr>
          <p:cNvSpPr txBox="1"/>
          <p:nvPr/>
        </p:nvSpPr>
        <p:spPr>
          <a:xfrm>
            <a:off x="4861218" y="3633661"/>
            <a:ext cx="2342856" cy="42810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1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tist</a:t>
            </a:r>
          </a:p>
        </p:txBody>
      </p:sp>
      <p:sp>
        <p:nvSpPr>
          <p:cNvPr id="1076" name="TextBox 1075">
            <a:extLst>
              <a:ext uri="{FF2B5EF4-FFF2-40B4-BE49-F238E27FC236}">
                <a16:creationId xmlns:a16="http://schemas.microsoft.com/office/drawing/2014/main" id="{8AB22AB0-635B-10F5-702F-039D045A5D22}"/>
              </a:ext>
            </a:extLst>
          </p:cNvPr>
          <p:cNvSpPr txBox="1"/>
          <p:nvPr/>
        </p:nvSpPr>
        <p:spPr>
          <a:xfrm>
            <a:off x="4861218" y="5050064"/>
            <a:ext cx="2342856" cy="42810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1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cation</a:t>
            </a:r>
          </a:p>
        </p:txBody>
      </p:sp>
      <p:sp>
        <p:nvSpPr>
          <p:cNvPr id="1077" name="TextBox 1076">
            <a:extLst>
              <a:ext uri="{FF2B5EF4-FFF2-40B4-BE49-F238E27FC236}">
                <a16:creationId xmlns:a16="http://schemas.microsoft.com/office/drawing/2014/main" id="{B3726361-D162-4384-21F7-8D6AA4894358}"/>
              </a:ext>
            </a:extLst>
          </p:cNvPr>
          <p:cNvSpPr txBox="1"/>
          <p:nvPr/>
        </p:nvSpPr>
        <p:spPr>
          <a:xfrm>
            <a:off x="4861218" y="2395799"/>
            <a:ext cx="6232174" cy="590184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hape of You is one of the top popular track.</a:t>
            </a:r>
          </a:p>
        </p:txBody>
      </p:sp>
      <p:sp>
        <p:nvSpPr>
          <p:cNvPr id="1078" name="TextBox 1077">
            <a:extLst>
              <a:ext uri="{FF2B5EF4-FFF2-40B4-BE49-F238E27FC236}">
                <a16:creationId xmlns:a16="http://schemas.microsoft.com/office/drawing/2014/main" id="{6A60E8B8-62CF-2823-A767-98A99FB88DF6}"/>
              </a:ext>
            </a:extLst>
          </p:cNvPr>
          <p:cNvSpPr txBox="1"/>
          <p:nvPr/>
        </p:nvSpPr>
        <p:spPr>
          <a:xfrm>
            <a:off x="4861218" y="3843886"/>
            <a:ext cx="6232174" cy="590184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rake is the most popular Artist by streams. </a:t>
            </a:r>
          </a:p>
        </p:txBody>
      </p:sp>
      <p:sp>
        <p:nvSpPr>
          <p:cNvPr id="1079" name="TextBox 1078">
            <a:extLst>
              <a:ext uri="{FF2B5EF4-FFF2-40B4-BE49-F238E27FC236}">
                <a16:creationId xmlns:a16="http://schemas.microsoft.com/office/drawing/2014/main" id="{FCEE8460-D7E7-A447-3C8D-F50BB0275834}"/>
              </a:ext>
            </a:extLst>
          </p:cNvPr>
          <p:cNvSpPr txBox="1"/>
          <p:nvPr/>
        </p:nvSpPr>
        <p:spPr>
          <a:xfrm>
            <a:off x="4861218" y="5271425"/>
            <a:ext cx="6232174" cy="590184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st Popular in South Asia &amp; America.</a:t>
            </a:r>
          </a:p>
        </p:txBody>
      </p:sp>
      <p:sp>
        <p:nvSpPr>
          <p:cNvPr id="1081" name="Rectangle: Rounded Corners 1080">
            <a:extLst>
              <a:ext uri="{FF2B5EF4-FFF2-40B4-BE49-F238E27FC236}">
                <a16:creationId xmlns:a16="http://schemas.microsoft.com/office/drawing/2014/main" id="{371C23BA-082C-78A8-5804-AE684EF6D00C}"/>
              </a:ext>
            </a:extLst>
          </p:cNvPr>
          <p:cNvSpPr/>
          <p:nvPr/>
        </p:nvSpPr>
        <p:spPr>
          <a:xfrm>
            <a:off x="3474402" y="1246597"/>
            <a:ext cx="1231162" cy="379412"/>
          </a:xfrm>
          <a:prstGeom prst="roundRect">
            <a:avLst>
              <a:gd name="adj" fmla="val 50000"/>
            </a:avLst>
          </a:prstGeom>
          <a:solidFill>
            <a:srgbClr val="191414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ylist</a:t>
            </a:r>
          </a:p>
        </p:txBody>
      </p:sp>
      <p:sp>
        <p:nvSpPr>
          <p:cNvPr id="1086" name="Rectangle: Rounded Corners 1085">
            <a:extLst>
              <a:ext uri="{FF2B5EF4-FFF2-40B4-BE49-F238E27FC236}">
                <a16:creationId xmlns:a16="http://schemas.microsoft.com/office/drawing/2014/main" id="{3ECB74FD-0790-C747-4CC5-50CFD971CE3B}"/>
              </a:ext>
            </a:extLst>
          </p:cNvPr>
          <p:cNvSpPr/>
          <p:nvPr/>
        </p:nvSpPr>
        <p:spPr>
          <a:xfrm>
            <a:off x="4809208" y="1246597"/>
            <a:ext cx="1783223" cy="379412"/>
          </a:xfrm>
          <a:prstGeom prst="roundRect">
            <a:avLst>
              <a:gd name="adj" fmla="val 50000"/>
            </a:avLst>
          </a:prstGeom>
          <a:solidFill>
            <a:srgbClr val="191414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cast &amp; Shows</a:t>
            </a:r>
          </a:p>
        </p:txBody>
      </p:sp>
      <p:sp>
        <p:nvSpPr>
          <p:cNvPr id="1087" name="Rectangle: Rounded Corners 1086">
            <a:extLst>
              <a:ext uri="{FF2B5EF4-FFF2-40B4-BE49-F238E27FC236}">
                <a16:creationId xmlns:a16="http://schemas.microsoft.com/office/drawing/2014/main" id="{76605FE9-ED14-3100-2FF4-F4210245A229}"/>
              </a:ext>
            </a:extLst>
          </p:cNvPr>
          <p:cNvSpPr/>
          <p:nvPr/>
        </p:nvSpPr>
        <p:spPr>
          <a:xfrm>
            <a:off x="6696075" y="1246597"/>
            <a:ext cx="1297222" cy="379412"/>
          </a:xfrm>
          <a:prstGeom prst="roundRect">
            <a:avLst>
              <a:gd name="adj" fmla="val 50000"/>
            </a:avLst>
          </a:prstGeom>
          <a:solidFill>
            <a:srgbClr val="191414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bums</a:t>
            </a:r>
          </a:p>
        </p:txBody>
      </p:sp>
      <p:sp>
        <p:nvSpPr>
          <p:cNvPr id="1094" name="Rectangle: Rounded Corners 1093">
            <a:extLst>
              <a:ext uri="{FF2B5EF4-FFF2-40B4-BE49-F238E27FC236}">
                <a16:creationId xmlns:a16="http://schemas.microsoft.com/office/drawing/2014/main" id="{C6B9F4EE-744C-7524-0298-28CB00705915}"/>
              </a:ext>
            </a:extLst>
          </p:cNvPr>
          <p:cNvSpPr/>
          <p:nvPr/>
        </p:nvSpPr>
        <p:spPr>
          <a:xfrm>
            <a:off x="8096941" y="1246597"/>
            <a:ext cx="1126141" cy="379412"/>
          </a:xfrm>
          <a:prstGeom prst="roundRect">
            <a:avLst>
              <a:gd name="adj" fmla="val 50000"/>
            </a:avLst>
          </a:prstGeom>
          <a:solidFill>
            <a:srgbClr val="191414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tist</a:t>
            </a:r>
          </a:p>
        </p:txBody>
      </p:sp>
      <p:sp>
        <p:nvSpPr>
          <p:cNvPr id="1098" name="Rectangle: Rounded Corners 1097">
            <a:extLst>
              <a:ext uri="{FF2B5EF4-FFF2-40B4-BE49-F238E27FC236}">
                <a16:creationId xmlns:a16="http://schemas.microsoft.com/office/drawing/2014/main" id="{C01F0C81-7C2E-0EAE-298F-55F224E73681}"/>
              </a:ext>
            </a:extLst>
          </p:cNvPr>
          <p:cNvSpPr/>
          <p:nvPr/>
        </p:nvSpPr>
        <p:spPr>
          <a:xfrm>
            <a:off x="9326724" y="1246597"/>
            <a:ext cx="1522786" cy="379412"/>
          </a:xfrm>
          <a:prstGeom prst="roundRect">
            <a:avLst>
              <a:gd name="adj" fmla="val 50000"/>
            </a:avLst>
          </a:prstGeom>
          <a:solidFill>
            <a:srgbClr val="191414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wnloaded</a:t>
            </a:r>
          </a:p>
        </p:txBody>
      </p:sp>
      <p:grpSp>
        <p:nvGrpSpPr>
          <p:cNvPr id="1152" name="Group 1151">
            <a:extLst>
              <a:ext uri="{FF2B5EF4-FFF2-40B4-BE49-F238E27FC236}">
                <a16:creationId xmlns:a16="http://schemas.microsoft.com/office/drawing/2014/main" id="{C551348F-C9DD-FAB1-F59C-A0E4D34B1FD2}"/>
              </a:ext>
            </a:extLst>
          </p:cNvPr>
          <p:cNvGrpSpPr/>
          <p:nvPr/>
        </p:nvGrpSpPr>
        <p:grpSpPr>
          <a:xfrm>
            <a:off x="11555553" y="1352679"/>
            <a:ext cx="167247" cy="167248"/>
            <a:chOff x="11516743" y="1260528"/>
            <a:chExt cx="244867" cy="244868"/>
          </a:xfrm>
        </p:grpSpPr>
        <p:sp>
          <p:nvSpPr>
            <p:cNvPr id="1115" name="Rectangle 1114">
              <a:extLst>
                <a:ext uri="{FF2B5EF4-FFF2-40B4-BE49-F238E27FC236}">
                  <a16:creationId xmlns:a16="http://schemas.microsoft.com/office/drawing/2014/main" id="{F2241CDC-A6FD-8521-9D93-069A84CE115F}"/>
                </a:ext>
              </a:extLst>
            </p:cNvPr>
            <p:cNvSpPr/>
            <p:nvPr/>
          </p:nvSpPr>
          <p:spPr>
            <a:xfrm>
              <a:off x="11516743" y="1260529"/>
              <a:ext cx="92467" cy="9246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116" name="Rectangle 1115">
              <a:extLst>
                <a:ext uri="{FF2B5EF4-FFF2-40B4-BE49-F238E27FC236}">
                  <a16:creationId xmlns:a16="http://schemas.microsoft.com/office/drawing/2014/main" id="{82624396-AA72-32D6-AC3D-49AE50D9BAA6}"/>
                </a:ext>
              </a:extLst>
            </p:cNvPr>
            <p:cNvSpPr/>
            <p:nvPr/>
          </p:nvSpPr>
          <p:spPr>
            <a:xfrm>
              <a:off x="11669143" y="1260528"/>
              <a:ext cx="92467" cy="9246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118" name="Rectangle 1117">
              <a:extLst>
                <a:ext uri="{FF2B5EF4-FFF2-40B4-BE49-F238E27FC236}">
                  <a16:creationId xmlns:a16="http://schemas.microsoft.com/office/drawing/2014/main" id="{E58EEB5F-0DEB-85E7-86EF-07310D3220CA}"/>
                </a:ext>
              </a:extLst>
            </p:cNvPr>
            <p:cNvSpPr/>
            <p:nvPr/>
          </p:nvSpPr>
          <p:spPr>
            <a:xfrm>
              <a:off x="11516743" y="1412929"/>
              <a:ext cx="92467" cy="9246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119" name="Rectangle 1118">
              <a:extLst>
                <a:ext uri="{FF2B5EF4-FFF2-40B4-BE49-F238E27FC236}">
                  <a16:creationId xmlns:a16="http://schemas.microsoft.com/office/drawing/2014/main" id="{A8597187-B53D-3F8F-D944-027869A67244}"/>
                </a:ext>
              </a:extLst>
            </p:cNvPr>
            <p:cNvSpPr/>
            <p:nvPr/>
          </p:nvSpPr>
          <p:spPr>
            <a:xfrm>
              <a:off x="11669143" y="1412928"/>
              <a:ext cx="92467" cy="9246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pSp>
        <p:nvGrpSpPr>
          <p:cNvPr id="1153" name="Group 1152">
            <a:extLst>
              <a:ext uri="{FF2B5EF4-FFF2-40B4-BE49-F238E27FC236}">
                <a16:creationId xmlns:a16="http://schemas.microsoft.com/office/drawing/2014/main" id="{28093605-0AF3-9B49-A82F-0C4332553666}"/>
              </a:ext>
            </a:extLst>
          </p:cNvPr>
          <p:cNvGrpSpPr>
            <a:grpSpLocks noChangeAspect="1"/>
          </p:cNvGrpSpPr>
          <p:nvPr/>
        </p:nvGrpSpPr>
        <p:grpSpPr>
          <a:xfrm>
            <a:off x="3943187" y="2517175"/>
            <a:ext cx="210692" cy="304176"/>
            <a:chOff x="3379789" y="1452563"/>
            <a:chExt cx="239713" cy="346075"/>
          </a:xfrm>
        </p:grpSpPr>
        <p:sp>
          <p:nvSpPr>
            <p:cNvPr id="1154" name="Freeform 5">
              <a:extLst>
                <a:ext uri="{FF2B5EF4-FFF2-40B4-BE49-F238E27FC236}">
                  <a16:creationId xmlns:a16="http://schemas.microsoft.com/office/drawing/2014/main" id="{901800AA-50B7-3129-332C-ED2F720B8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5" name="Freeform 6">
              <a:extLst>
                <a:ext uri="{FF2B5EF4-FFF2-40B4-BE49-F238E27FC236}">
                  <a16:creationId xmlns:a16="http://schemas.microsoft.com/office/drawing/2014/main" id="{17E7597E-599B-B8FB-011C-8476B06E4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6" name="Line 7">
              <a:extLst>
                <a:ext uri="{FF2B5EF4-FFF2-40B4-BE49-F238E27FC236}">
                  <a16:creationId xmlns:a16="http://schemas.microsoft.com/office/drawing/2014/main" id="{2202B3D8-BF57-F104-9E0E-747658B0B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7" name="Line 8">
              <a:extLst>
                <a:ext uri="{FF2B5EF4-FFF2-40B4-BE49-F238E27FC236}">
                  <a16:creationId xmlns:a16="http://schemas.microsoft.com/office/drawing/2014/main" id="{16DEAD5D-1B04-EC44-A6A8-02808ACD23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8" name="Line 9">
              <a:extLst>
                <a:ext uri="{FF2B5EF4-FFF2-40B4-BE49-F238E27FC236}">
                  <a16:creationId xmlns:a16="http://schemas.microsoft.com/office/drawing/2014/main" id="{C95F0242-A21D-2893-6C83-CF915A3C04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9" name="Line 10">
              <a:extLst>
                <a:ext uri="{FF2B5EF4-FFF2-40B4-BE49-F238E27FC236}">
                  <a16:creationId xmlns:a16="http://schemas.microsoft.com/office/drawing/2014/main" id="{5F4D5183-F7E6-B5C9-27F2-9BA113B68A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0" name="Line 11">
              <a:extLst>
                <a:ext uri="{FF2B5EF4-FFF2-40B4-BE49-F238E27FC236}">
                  <a16:creationId xmlns:a16="http://schemas.microsoft.com/office/drawing/2014/main" id="{449BDEED-34DB-EBA0-AD54-CF77A94D8D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1" name="Line 12">
              <a:extLst>
                <a:ext uri="{FF2B5EF4-FFF2-40B4-BE49-F238E27FC236}">
                  <a16:creationId xmlns:a16="http://schemas.microsoft.com/office/drawing/2014/main" id="{ADF9168F-8F03-426F-82B2-4485273832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2" name="Line 13">
              <a:extLst>
                <a:ext uri="{FF2B5EF4-FFF2-40B4-BE49-F238E27FC236}">
                  <a16:creationId xmlns:a16="http://schemas.microsoft.com/office/drawing/2014/main" id="{FED8F854-08B7-434C-E3A5-6122C7905E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3" name="Line 14">
              <a:extLst>
                <a:ext uri="{FF2B5EF4-FFF2-40B4-BE49-F238E27FC236}">
                  <a16:creationId xmlns:a16="http://schemas.microsoft.com/office/drawing/2014/main" id="{F1CDA4F9-9738-D270-2521-E7666C38C5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4" name="Line 15">
              <a:extLst>
                <a:ext uri="{FF2B5EF4-FFF2-40B4-BE49-F238E27FC236}">
                  <a16:creationId xmlns:a16="http://schemas.microsoft.com/office/drawing/2014/main" id="{BC299697-448C-34D1-FEE9-25116191B1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5" name="Line 16">
              <a:extLst>
                <a:ext uri="{FF2B5EF4-FFF2-40B4-BE49-F238E27FC236}">
                  <a16:creationId xmlns:a16="http://schemas.microsoft.com/office/drawing/2014/main" id="{FCB2E2D5-17B1-FC7B-1450-E96872B1B0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6" name="Line 17">
              <a:extLst>
                <a:ext uri="{FF2B5EF4-FFF2-40B4-BE49-F238E27FC236}">
                  <a16:creationId xmlns:a16="http://schemas.microsoft.com/office/drawing/2014/main" id="{4DD56C67-35F8-C996-F08F-BEAA51FC6C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7" name="Group 1166">
            <a:extLst>
              <a:ext uri="{FF2B5EF4-FFF2-40B4-BE49-F238E27FC236}">
                <a16:creationId xmlns:a16="http://schemas.microsoft.com/office/drawing/2014/main" id="{0E45D559-33F4-F20B-9D56-171AD13FA055}"/>
              </a:ext>
            </a:extLst>
          </p:cNvPr>
          <p:cNvGrpSpPr/>
          <p:nvPr/>
        </p:nvGrpSpPr>
        <p:grpSpPr>
          <a:xfrm>
            <a:off x="3875496" y="3924030"/>
            <a:ext cx="346075" cy="323273"/>
            <a:chOff x="7007226" y="3251201"/>
            <a:chExt cx="346075" cy="355600"/>
          </a:xfrm>
        </p:grpSpPr>
        <p:sp>
          <p:nvSpPr>
            <p:cNvPr id="1168" name="Freeform 11">
              <a:extLst>
                <a:ext uri="{FF2B5EF4-FFF2-40B4-BE49-F238E27FC236}">
                  <a16:creationId xmlns:a16="http://schemas.microsoft.com/office/drawing/2014/main" id="{2D7567CF-DCF3-4658-41E7-287D9195A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7226" y="3405188"/>
              <a:ext cx="30163" cy="61913"/>
            </a:xfrm>
            <a:custGeom>
              <a:avLst/>
              <a:gdLst>
                <a:gd name="T0" fmla="*/ 8 w 8"/>
                <a:gd name="T1" fmla="*/ 16 h 16"/>
                <a:gd name="T2" fmla="*/ 0 w 8"/>
                <a:gd name="T3" fmla="*/ 8 h 16"/>
                <a:gd name="T4" fmla="*/ 8 w 8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9" name="Freeform 12">
              <a:extLst>
                <a:ext uri="{FF2B5EF4-FFF2-40B4-BE49-F238E27FC236}">
                  <a16:creationId xmlns:a16="http://schemas.microsoft.com/office/drawing/2014/main" id="{61E2261D-E01A-97C9-ACFE-95F0D0870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3514726"/>
              <a:ext cx="82550" cy="69850"/>
            </a:xfrm>
            <a:custGeom>
              <a:avLst/>
              <a:gdLst>
                <a:gd name="T0" fmla="*/ 0 w 22"/>
                <a:gd name="T1" fmla="*/ 18 h 18"/>
                <a:gd name="T2" fmla="*/ 8 w 22"/>
                <a:gd name="T3" fmla="*/ 18 h 18"/>
                <a:gd name="T4" fmla="*/ 22 w 22"/>
                <a:gd name="T5" fmla="*/ 4 h 18"/>
                <a:gd name="T6" fmla="*/ 22 w 2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8">
                  <a:moveTo>
                    <a:pt x="0" y="18"/>
                  </a:moveTo>
                  <a:cubicBezTo>
                    <a:pt x="8" y="18"/>
                    <a:pt x="8" y="18"/>
                    <a:pt x="8" y="18"/>
                  </a:cubicBezTo>
                  <a:cubicBezTo>
                    <a:pt x="16" y="18"/>
                    <a:pt x="22" y="12"/>
                    <a:pt x="22" y="4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0" name="Oval 1169">
              <a:extLst>
                <a:ext uri="{FF2B5EF4-FFF2-40B4-BE49-F238E27FC236}">
                  <a16:creationId xmlns:a16="http://schemas.microsoft.com/office/drawing/2014/main" id="{9C709ABA-E750-4B47-6108-47D76FEA1E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326" y="3560763"/>
              <a:ext cx="46038" cy="46038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1" name="Freeform 14">
              <a:extLst>
                <a:ext uri="{FF2B5EF4-FFF2-40B4-BE49-F238E27FC236}">
                  <a16:creationId xmlns:a16="http://schemas.microsoft.com/office/drawing/2014/main" id="{5459C27F-7532-1597-2632-5F2B0A9DF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7388" y="3359151"/>
              <a:ext cx="60325" cy="155575"/>
            </a:xfrm>
            <a:custGeom>
              <a:avLst/>
              <a:gdLst>
                <a:gd name="T0" fmla="*/ 16 w 16"/>
                <a:gd name="T1" fmla="*/ 40 h 40"/>
                <a:gd name="T2" fmla="*/ 8 w 16"/>
                <a:gd name="T3" fmla="*/ 40 h 40"/>
                <a:gd name="T4" fmla="*/ 0 w 16"/>
                <a:gd name="T5" fmla="*/ 32 h 40"/>
                <a:gd name="T6" fmla="*/ 0 w 16"/>
                <a:gd name="T7" fmla="*/ 8 h 40"/>
                <a:gd name="T8" fmla="*/ 8 w 16"/>
                <a:gd name="T9" fmla="*/ 0 h 40"/>
                <a:gd name="T10" fmla="*/ 16 w 16"/>
                <a:gd name="T11" fmla="*/ 0 h 40"/>
                <a:gd name="T12" fmla="*/ 16 w 16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0">
                  <a:moveTo>
                    <a:pt x="16" y="40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4" y="40"/>
                    <a:pt x="0" y="36"/>
                    <a:pt x="0" y="3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40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2" name="Freeform 15">
              <a:extLst>
                <a:ext uri="{FF2B5EF4-FFF2-40B4-BE49-F238E27FC236}">
                  <a16:creationId xmlns:a16="http://schemas.microsoft.com/office/drawing/2014/main" id="{F469CC33-95B9-3321-F795-460F6EF44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3138" y="3405188"/>
              <a:ext cx="30163" cy="61913"/>
            </a:xfrm>
            <a:custGeom>
              <a:avLst/>
              <a:gdLst>
                <a:gd name="T0" fmla="*/ 0 w 8"/>
                <a:gd name="T1" fmla="*/ 16 h 16"/>
                <a:gd name="T2" fmla="*/ 8 w 8"/>
                <a:gd name="T3" fmla="*/ 8 h 16"/>
                <a:gd name="T4" fmla="*/ 0 w 8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4" y="16"/>
                    <a:pt x="8" y="12"/>
                    <a:pt x="8" y="8"/>
                  </a:cubicBezTo>
                  <a:cubicBezTo>
                    <a:pt x="8" y="4"/>
                    <a:pt x="4" y="0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3" name="Freeform 16">
              <a:extLst>
                <a:ext uri="{FF2B5EF4-FFF2-40B4-BE49-F238E27FC236}">
                  <a16:creationId xmlns:a16="http://schemas.microsoft.com/office/drawing/2014/main" id="{733528CD-224F-E8C4-3B65-A52303173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2813" y="3359151"/>
              <a:ext cx="60325" cy="155575"/>
            </a:xfrm>
            <a:custGeom>
              <a:avLst/>
              <a:gdLst>
                <a:gd name="T0" fmla="*/ 0 w 16"/>
                <a:gd name="T1" fmla="*/ 40 h 40"/>
                <a:gd name="T2" fmla="*/ 8 w 16"/>
                <a:gd name="T3" fmla="*/ 40 h 40"/>
                <a:gd name="T4" fmla="*/ 16 w 16"/>
                <a:gd name="T5" fmla="*/ 32 h 40"/>
                <a:gd name="T6" fmla="*/ 16 w 16"/>
                <a:gd name="T7" fmla="*/ 8 h 40"/>
                <a:gd name="T8" fmla="*/ 8 w 16"/>
                <a:gd name="T9" fmla="*/ 0 h 40"/>
                <a:gd name="T10" fmla="*/ 0 w 16"/>
                <a:gd name="T11" fmla="*/ 0 h 40"/>
                <a:gd name="T12" fmla="*/ 0 w 16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0">
                  <a:moveTo>
                    <a:pt x="0" y="40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12" y="40"/>
                    <a:pt x="16" y="36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0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4" name="Freeform 17">
              <a:extLst>
                <a:ext uri="{FF2B5EF4-FFF2-40B4-BE49-F238E27FC236}">
                  <a16:creationId xmlns:a16="http://schemas.microsoft.com/office/drawing/2014/main" id="{E1A3B4F7-A0B5-D041-E16F-65897F3AF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5488" y="3251201"/>
              <a:ext cx="211138" cy="107950"/>
            </a:xfrm>
            <a:custGeom>
              <a:avLst/>
              <a:gdLst>
                <a:gd name="T0" fmla="*/ 0 w 56"/>
                <a:gd name="T1" fmla="*/ 28 h 28"/>
                <a:gd name="T2" fmla="*/ 28 w 56"/>
                <a:gd name="T3" fmla="*/ 0 h 28"/>
                <a:gd name="T4" fmla="*/ 56 w 56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28">
                  <a:moveTo>
                    <a:pt x="0" y="28"/>
                  </a:moveTo>
                  <a:cubicBezTo>
                    <a:pt x="0" y="13"/>
                    <a:pt x="13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75" name="Group 1174">
            <a:extLst>
              <a:ext uri="{FF2B5EF4-FFF2-40B4-BE49-F238E27FC236}">
                <a16:creationId xmlns:a16="http://schemas.microsoft.com/office/drawing/2014/main" id="{AC57E45F-B8EB-E6D8-D02A-17FD3EB122BE}"/>
              </a:ext>
            </a:extLst>
          </p:cNvPr>
          <p:cNvGrpSpPr/>
          <p:nvPr/>
        </p:nvGrpSpPr>
        <p:grpSpPr>
          <a:xfrm>
            <a:off x="3905658" y="5367132"/>
            <a:ext cx="285750" cy="269875"/>
            <a:chOff x="6954839" y="777876"/>
            <a:chExt cx="285750" cy="269875"/>
          </a:xfrm>
        </p:grpSpPr>
        <p:sp>
          <p:nvSpPr>
            <p:cNvPr id="1176" name="Line 211">
              <a:extLst>
                <a:ext uri="{FF2B5EF4-FFF2-40B4-BE49-F238E27FC236}">
                  <a16:creationId xmlns:a16="http://schemas.microsoft.com/office/drawing/2014/main" id="{1CE95DAB-BBD6-52A8-BA0C-FF7719E0FF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4839" y="1047751"/>
              <a:ext cx="7620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7" name="Line 212">
              <a:extLst>
                <a:ext uri="{FF2B5EF4-FFF2-40B4-BE49-F238E27FC236}">
                  <a16:creationId xmlns:a16="http://schemas.microsoft.com/office/drawing/2014/main" id="{9BC03110-B116-8105-A611-C0E4751175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4839" y="1017588"/>
              <a:ext cx="7620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8" name="Line 213">
              <a:extLst>
                <a:ext uri="{FF2B5EF4-FFF2-40B4-BE49-F238E27FC236}">
                  <a16:creationId xmlns:a16="http://schemas.microsoft.com/office/drawing/2014/main" id="{B77B08EC-FB66-1838-F1B7-1160E21FE9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4839" y="987426"/>
              <a:ext cx="7620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9" name="Line 214">
              <a:extLst>
                <a:ext uri="{FF2B5EF4-FFF2-40B4-BE49-F238E27FC236}">
                  <a16:creationId xmlns:a16="http://schemas.microsoft.com/office/drawing/2014/main" id="{18F24F32-70C5-382F-CE39-FF0DB41E77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4839" y="957263"/>
              <a:ext cx="7620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0" name="Line 215">
              <a:extLst>
                <a:ext uri="{FF2B5EF4-FFF2-40B4-BE49-F238E27FC236}">
                  <a16:creationId xmlns:a16="http://schemas.microsoft.com/office/drawing/2014/main" id="{51E0E7EB-EFCB-BB80-59EF-5078BD57AE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4839" y="927101"/>
              <a:ext cx="7620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1" name="Line 216">
              <a:extLst>
                <a:ext uri="{FF2B5EF4-FFF2-40B4-BE49-F238E27FC236}">
                  <a16:creationId xmlns:a16="http://schemas.microsoft.com/office/drawing/2014/main" id="{4D83DD8C-AE2B-D390-38C4-500728C687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1201" y="1047751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2" name="Line 217">
              <a:extLst>
                <a:ext uri="{FF2B5EF4-FFF2-40B4-BE49-F238E27FC236}">
                  <a16:creationId xmlns:a16="http://schemas.microsoft.com/office/drawing/2014/main" id="{E794DC02-2684-37AF-C0E8-D291877673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1201" y="1017588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3" name="Line 218">
              <a:extLst>
                <a:ext uri="{FF2B5EF4-FFF2-40B4-BE49-F238E27FC236}">
                  <a16:creationId xmlns:a16="http://schemas.microsoft.com/office/drawing/2014/main" id="{4A015B71-9D85-025E-3696-3404896F21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1201" y="987426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4" name="Line 219">
              <a:extLst>
                <a:ext uri="{FF2B5EF4-FFF2-40B4-BE49-F238E27FC236}">
                  <a16:creationId xmlns:a16="http://schemas.microsoft.com/office/drawing/2014/main" id="{A459F18D-22FC-D2DC-DE64-F24892C10D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1201" y="957263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5" name="Line 220">
              <a:extLst>
                <a:ext uri="{FF2B5EF4-FFF2-40B4-BE49-F238E27FC236}">
                  <a16:creationId xmlns:a16="http://schemas.microsoft.com/office/drawing/2014/main" id="{66FD3250-CC0A-6BD1-0826-E66CBA8A12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1201" y="927101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6" name="Line 221">
              <a:extLst>
                <a:ext uri="{FF2B5EF4-FFF2-40B4-BE49-F238E27FC236}">
                  <a16:creationId xmlns:a16="http://schemas.microsoft.com/office/drawing/2014/main" id="{534D8E90-6D21-9A20-D737-8E191B9721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1201" y="896938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7" name="Line 222">
              <a:extLst>
                <a:ext uri="{FF2B5EF4-FFF2-40B4-BE49-F238E27FC236}">
                  <a16:creationId xmlns:a16="http://schemas.microsoft.com/office/drawing/2014/main" id="{2E298848-53FA-FB26-DFDE-4B6950CE16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1201" y="866776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8" name="Line 223">
              <a:extLst>
                <a:ext uri="{FF2B5EF4-FFF2-40B4-BE49-F238E27FC236}">
                  <a16:creationId xmlns:a16="http://schemas.microsoft.com/office/drawing/2014/main" id="{A0E7E944-9EA6-93A8-87F1-9A6C0B05DA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1201" y="836613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9" name="Line 224">
              <a:extLst>
                <a:ext uri="{FF2B5EF4-FFF2-40B4-BE49-F238E27FC236}">
                  <a16:creationId xmlns:a16="http://schemas.microsoft.com/office/drawing/2014/main" id="{6B31818D-A3D3-8A28-07EA-A678EA1D2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1201" y="806451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0" name="Line 225">
              <a:extLst>
                <a:ext uri="{FF2B5EF4-FFF2-40B4-BE49-F238E27FC236}">
                  <a16:creationId xmlns:a16="http://schemas.microsoft.com/office/drawing/2014/main" id="{D3A1F8FD-EDDD-B204-08AD-48D65375A6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1201" y="777876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1" name="Line 226">
              <a:extLst>
                <a:ext uri="{FF2B5EF4-FFF2-40B4-BE49-F238E27FC236}">
                  <a16:creationId xmlns:a16="http://schemas.microsoft.com/office/drawing/2014/main" id="{0AAB6A3D-7225-2A5B-E713-E4654400EC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5976" y="1047751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2" name="Line 227">
              <a:extLst>
                <a:ext uri="{FF2B5EF4-FFF2-40B4-BE49-F238E27FC236}">
                  <a16:creationId xmlns:a16="http://schemas.microsoft.com/office/drawing/2014/main" id="{667C68B6-5B73-4DAF-970F-B47D368A18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5976" y="1017588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3" name="Line 228">
              <a:extLst>
                <a:ext uri="{FF2B5EF4-FFF2-40B4-BE49-F238E27FC236}">
                  <a16:creationId xmlns:a16="http://schemas.microsoft.com/office/drawing/2014/main" id="{7C618A75-6B05-1251-F271-55732B1DC1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5976" y="987426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2F552D1A-0484-3866-D848-6F66D47DD5D1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ferenc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5C5AC22-E090-F079-19F5-91F49EA46DE4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pic>
        <p:nvPicPr>
          <p:cNvPr id="34" name="Graphic 33" descr="Badge Question Mark outline">
            <a:extLst>
              <a:ext uri="{FF2B5EF4-FFF2-40B4-BE49-F238E27FC236}">
                <a16:creationId xmlns:a16="http://schemas.microsoft.com/office/drawing/2014/main" id="{D8D4AA86-6857-53EB-460E-4D87BE5029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37" name="Graphic 36" descr="Customer review outline">
            <a:extLst>
              <a:ext uri="{FF2B5EF4-FFF2-40B4-BE49-F238E27FC236}">
                <a16:creationId xmlns:a16="http://schemas.microsoft.com/office/drawing/2014/main" id="{CC39E719-A624-C601-31BE-DC83A0FE4D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7111555-B28E-CB39-2059-12699BCF6F8D}"/>
              </a:ext>
            </a:extLst>
          </p:cNvPr>
          <p:cNvSpPr txBox="1"/>
          <p:nvPr/>
        </p:nvSpPr>
        <p:spPr>
          <a:xfrm>
            <a:off x="383220" y="4081936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-Suggestions</a:t>
            </a:r>
          </a:p>
        </p:txBody>
      </p:sp>
    </p:spTree>
    <p:extLst>
      <p:ext uri="{BB962C8B-B14F-4D97-AF65-F5344CB8AC3E}">
        <p14:creationId xmlns:p14="http://schemas.microsoft.com/office/powerpoint/2010/main" val="28586563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: Top Corners Rounded 59">
            <a:extLst>
              <a:ext uri="{FF2B5EF4-FFF2-40B4-BE49-F238E27FC236}">
                <a16:creationId xmlns:a16="http://schemas.microsoft.com/office/drawing/2014/main" id="{A8B32FA7-9DD5-84FD-B013-2AC801BA3D78}"/>
              </a:ext>
            </a:extLst>
          </p:cNvPr>
          <p:cNvSpPr/>
          <p:nvPr/>
        </p:nvSpPr>
        <p:spPr>
          <a:xfrm>
            <a:off x="11079126" y="6308725"/>
            <a:ext cx="777912" cy="549275"/>
          </a:xfrm>
          <a:prstGeom prst="round2SameRect">
            <a:avLst/>
          </a:prstGeom>
          <a:solidFill>
            <a:srgbClr val="1DB9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5" name="Slide Number Placeholder 4">
            <a:extLst>
              <a:ext uri="{FF2B5EF4-FFF2-40B4-BE49-F238E27FC236}">
                <a16:creationId xmlns:a16="http://schemas.microsoft.com/office/drawing/2014/main" id="{5CA130BB-4BBB-5DA4-96B0-88C5D390A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4553" y="6400800"/>
            <a:ext cx="587058" cy="365125"/>
          </a:xfrm>
        </p:spPr>
        <p:txBody>
          <a:bodyPr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011328-BC19-9759-C4A2-A876E6C72E81}"/>
              </a:ext>
            </a:extLst>
          </p:cNvPr>
          <p:cNvSpPr txBox="1"/>
          <p:nvPr/>
        </p:nvSpPr>
        <p:spPr>
          <a:xfrm>
            <a:off x="591709" y="125309"/>
            <a:ext cx="911858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commendations &amp; Suggestions</a:t>
            </a:r>
          </a:p>
        </p:txBody>
      </p:sp>
      <p:pic>
        <p:nvPicPr>
          <p:cNvPr id="22" name="Graphic 21" descr="Customer review outline">
            <a:extLst>
              <a:ext uri="{FF2B5EF4-FFF2-40B4-BE49-F238E27FC236}">
                <a16:creationId xmlns:a16="http://schemas.microsoft.com/office/drawing/2014/main" id="{D69A6F82-6BC5-FD25-C27E-8CB901B056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9507" y="1458218"/>
            <a:ext cx="284321" cy="284321"/>
          </a:xfrm>
          <a:prstGeom prst="rect">
            <a:avLst/>
          </a:prstGeom>
        </p:spPr>
      </p:pic>
      <p:grpSp>
        <p:nvGrpSpPr>
          <p:cNvPr id="1132" name="Group 1131">
            <a:extLst>
              <a:ext uri="{FF2B5EF4-FFF2-40B4-BE49-F238E27FC236}">
                <a16:creationId xmlns:a16="http://schemas.microsoft.com/office/drawing/2014/main" id="{CE4FBEBF-58E6-DDF2-F888-E1CC27AD8BDD}"/>
              </a:ext>
            </a:extLst>
          </p:cNvPr>
          <p:cNvGrpSpPr/>
          <p:nvPr/>
        </p:nvGrpSpPr>
        <p:grpSpPr>
          <a:xfrm>
            <a:off x="150056" y="2194112"/>
            <a:ext cx="423930" cy="445558"/>
            <a:chOff x="4879140" y="2115101"/>
            <a:chExt cx="713170" cy="819091"/>
          </a:xfrm>
        </p:grpSpPr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5D467907-9F0E-82B0-3FDB-64D52912A5F1}"/>
                </a:ext>
              </a:extLst>
            </p:cNvPr>
            <p:cNvSpPr/>
            <p:nvPr/>
          </p:nvSpPr>
          <p:spPr>
            <a:xfrm>
              <a:off x="4879140" y="2286564"/>
              <a:ext cx="620091" cy="647628"/>
            </a:xfrm>
            <a:custGeom>
              <a:avLst/>
              <a:gdLst>
                <a:gd name="connsiteX0" fmla="*/ 396357 w 620091"/>
                <a:gd name="connsiteY0" fmla="*/ 422619 h 647628"/>
                <a:gd name="connsiteX1" fmla="*/ 381232 w 620091"/>
                <a:gd name="connsiteY1" fmla="*/ 237186 h 647628"/>
                <a:gd name="connsiteX2" fmla="*/ 374440 w 620091"/>
                <a:gd name="connsiteY2" fmla="*/ 111180 h 647628"/>
                <a:gd name="connsiteX3" fmla="*/ 374532 w 620091"/>
                <a:gd name="connsiteY3" fmla="*/ 111082 h 647628"/>
                <a:gd name="connsiteX4" fmla="*/ 374583 w 620091"/>
                <a:gd name="connsiteY4" fmla="*/ 111095 h 647628"/>
                <a:gd name="connsiteX5" fmla="*/ 451860 w 620091"/>
                <a:gd name="connsiteY5" fmla="*/ 153290 h 647628"/>
                <a:gd name="connsiteX6" fmla="*/ 499199 w 620091"/>
                <a:gd name="connsiteY6" fmla="*/ 151662 h 647628"/>
                <a:gd name="connsiteX7" fmla="*/ 598478 w 620091"/>
                <a:gd name="connsiteY7" fmla="*/ 88139 h 647628"/>
                <a:gd name="connsiteX8" fmla="*/ 612889 w 620091"/>
                <a:gd name="connsiteY8" fmla="*/ 23941 h 647628"/>
                <a:gd name="connsiteX9" fmla="*/ 612889 w 620091"/>
                <a:gd name="connsiteY9" fmla="*/ 23941 h 647628"/>
                <a:gd name="connsiteX10" fmla="*/ 548677 w 620091"/>
                <a:gd name="connsiteY10" fmla="*/ 9680 h 647628"/>
                <a:gd name="connsiteX11" fmla="*/ 548586 w 620091"/>
                <a:gd name="connsiteY11" fmla="*/ 9739 h 647628"/>
                <a:gd name="connsiteX12" fmla="*/ 472386 w 620091"/>
                <a:gd name="connsiteY12" fmla="*/ 58431 h 647628"/>
                <a:gd name="connsiteX13" fmla="*/ 374793 w 620091"/>
                <a:gd name="connsiteY13" fmla="*/ 5643 h 647628"/>
                <a:gd name="connsiteX14" fmla="*/ 338874 w 620091"/>
                <a:gd name="connsiteY14" fmla="*/ 2033 h 647628"/>
                <a:gd name="connsiteX15" fmla="*/ 218668 w 620091"/>
                <a:gd name="connsiteY15" fmla="*/ 38981 h 647628"/>
                <a:gd name="connsiteX16" fmla="*/ 192227 w 620091"/>
                <a:gd name="connsiteY16" fmla="*/ 59850 h 647628"/>
                <a:gd name="connsiteX17" fmla="*/ 140382 w 620091"/>
                <a:gd name="connsiteY17" fmla="*/ 148785 h 647628"/>
                <a:gd name="connsiteX18" fmla="*/ 56382 w 620091"/>
                <a:gd name="connsiteY18" fmla="*/ 126877 h 647628"/>
                <a:gd name="connsiteX19" fmla="*/ 1040 w 620091"/>
                <a:gd name="connsiteY19" fmla="*/ 162427 h 647628"/>
                <a:gd name="connsiteX20" fmla="*/ 1032 w 620091"/>
                <a:gd name="connsiteY20" fmla="*/ 162463 h 647628"/>
                <a:gd name="connsiteX21" fmla="*/ 33417 w 620091"/>
                <a:gd name="connsiteY21" fmla="*/ 217041 h 647628"/>
                <a:gd name="connsiteX22" fmla="*/ 151079 w 620091"/>
                <a:gd name="connsiteY22" fmla="*/ 247645 h 647628"/>
                <a:gd name="connsiteX23" fmla="*/ 162814 w 620091"/>
                <a:gd name="connsiteY23" fmla="*/ 249169 h 647628"/>
                <a:gd name="connsiteX24" fmla="*/ 202924 w 620091"/>
                <a:gd name="connsiteY24" fmla="*/ 225918 h 647628"/>
                <a:gd name="connsiteX25" fmla="*/ 229213 w 620091"/>
                <a:gd name="connsiteY25" fmla="*/ 180551 h 647628"/>
                <a:gd name="connsiteX26" fmla="*/ 229346 w 620091"/>
                <a:gd name="connsiteY26" fmla="*/ 180531 h 647628"/>
                <a:gd name="connsiteX27" fmla="*/ 229384 w 620091"/>
                <a:gd name="connsiteY27" fmla="*/ 180598 h 647628"/>
                <a:gd name="connsiteX28" fmla="*/ 233327 w 620091"/>
                <a:gd name="connsiteY28" fmla="*/ 252093 h 647628"/>
                <a:gd name="connsiteX29" fmla="*/ 160156 w 620091"/>
                <a:gd name="connsiteY29" fmla="*/ 432525 h 647628"/>
                <a:gd name="connsiteX30" fmla="*/ 160156 w 620091"/>
                <a:gd name="connsiteY30" fmla="*/ 466377 h 647628"/>
                <a:gd name="connsiteX31" fmla="*/ 217154 w 620091"/>
                <a:gd name="connsiteY31" fmla="*/ 617386 h 647628"/>
                <a:gd name="connsiteX32" fmla="*/ 260064 w 620091"/>
                <a:gd name="connsiteY32" fmla="*/ 647628 h 647628"/>
                <a:gd name="connsiteX33" fmla="*/ 260255 w 620091"/>
                <a:gd name="connsiteY33" fmla="*/ 647628 h 647628"/>
                <a:gd name="connsiteX34" fmla="*/ 276514 w 620091"/>
                <a:gd name="connsiteY34" fmla="*/ 644609 h 647628"/>
                <a:gd name="connsiteX35" fmla="*/ 303603 w 620091"/>
                <a:gd name="connsiteY35" fmla="*/ 584706 h 647628"/>
                <a:gd name="connsiteX36" fmla="*/ 253044 w 620091"/>
                <a:gd name="connsiteY36" fmla="*/ 450661 h 647628"/>
                <a:gd name="connsiteX37" fmla="*/ 296431 w 620091"/>
                <a:gd name="connsiteY37" fmla="*/ 343981 h 647628"/>
                <a:gd name="connsiteX38" fmla="*/ 296570 w 620091"/>
                <a:gd name="connsiteY38" fmla="*/ 343929 h 647628"/>
                <a:gd name="connsiteX39" fmla="*/ 296621 w 620091"/>
                <a:gd name="connsiteY39" fmla="*/ 343981 h 647628"/>
                <a:gd name="connsiteX40" fmla="*/ 304708 w 620091"/>
                <a:gd name="connsiteY40" fmla="*/ 443041 h 647628"/>
                <a:gd name="connsiteX41" fmla="*/ 313204 w 620091"/>
                <a:gd name="connsiteY41" fmla="*/ 466272 h 647628"/>
                <a:gd name="connsiteX42" fmla="*/ 405673 w 620091"/>
                <a:gd name="connsiteY42" fmla="*/ 595812 h 647628"/>
                <a:gd name="connsiteX43" fmla="*/ 470707 w 620091"/>
                <a:gd name="connsiteY43" fmla="*/ 606018 h 647628"/>
                <a:gd name="connsiteX44" fmla="*/ 481377 w 620091"/>
                <a:gd name="connsiteY44" fmla="*/ 541634 h 647628"/>
                <a:gd name="connsiteX45" fmla="*/ 459565 w 620091"/>
                <a:gd name="connsiteY45" fmla="*/ 591097 h 647628"/>
                <a:gd name="connsiteX46" fmla="*/ 421208 w 620091"/>
                <a:gd name="connsiteY46" fmla="*/ 584744 h 647628"/>
                <a:gd name="connsiteX47" fmla="*/ 328711 w 620091"/>
                <a:gd name="connsiteY47" fmla="*/ 455223 h 647628"/>
                <a:gd name="connsiteX48" fmla="*/ 323701 w 620091"/>
                <a:gd name="connsiteY48" fmla="*/ 441479 h 647628"/>
                <a:gd name="connsiteX49" fmla="*/ 312328 w 620091"/>
                <a:gd name="connsiteY49" fmla="*/ 302223 h 647628"/>
                <a:gd name="connsiteX50" fmla="*/ 302111 w 620091"/>
                <a:gd name="connsiteY50" fmla="*/ 293444 h 647628"/>
                <a:gd name="connsiteX51" fmla="*/ 294002 w 620091"/>
                <a:gd name="connsiteY51" fmla="*/ 299366 h 647628"/>
                <a:gd name="connsiteX52" fmla="*/ 233994 w 620091"/>
                <a:gd name="connsiteY52" fmla="*/ 446898 h 647628"/>
                <a:gd name="connsiteX53" fmla="*/ 233908 w 620091"/>
                <a:gd name="connsiteY53" fmla="*/ 453852 h 647628"/>
                <a:gd name="connsiteX54" fmla="*/ 285772 w 620091"/>
                <a:gd name="connsiteY54" fmla="*/ 591431 h 647628"/>
                <a:gd name="connsiteX55" fmla="*/ 269703 w 620091"/>
                <a:gd name="connsiteY55" fmla="*/ 626826 h 647628"/>
                <a:gd name="connsiteX56" fmla="*/ 260264 w 620091"/>
                <a:gd name="connsiteY56" fmla="*/ 628588 h 647628"/>
                <a:gd name="connsiteX57" fmla="*/ 234985 w 620091"/>
                <a:gd name="connsiteY57" fmla="*/ 610700 h 647628"/>
                <a:gd name="connsiteX58" fmla="*/ 177882 w 620091"/>
                <a:gd name="connsiteY58" fmla="*/ 459538 h 647628"/>
                <a:gd name="connsiteX59" fmla="*/ 177882 w 620091"/>
                <a:gd name="connsiteY59" fmla="*/ 439593 h 647628"/>
                <a:gd name="connsiteX60" fmla="*/ 251825 w 620091"/>
                <a:gd name="connsiteY60" fmla="*/ 257284 h 647628"/>
                <a:gd name="connsiteX61" fmla="*/ 252501 w 620091"/>
                <a:gd name="connsiteY61" fmla="*/ 253169 h 647628"/>
                <a:gd name="connsiteX62" fmla="*/ 248691 w 620091"/>
                <a:gd name="connsiteY62" fmla="*/ 183485 h 647628"/>
                <a:gd name="connsiteX63" fmla="*/ 248691 w 620091"/>
                <a:gd name="connsiteY63" fmla="*/ 183485 h 647628"/>
                <a:gd name="connsiteX64" fmla="*/ 246853 w 620091"/>
                <a:gd name="connsiteY64" fmla="*/ 132450 h 647628"/>
                <a:gd name="connsiteX65" fmla="*/ 236985 w 620091"/>
                <a:gd name="connsiteY65" fmla="*/ 123267 h 647628"/>
                <a:gd name="connsiteX66" fmla="*/ 227803 w 620091"/>
                <a:gd name="connsiteY66" fmla="*/ 133135 h 647628"/>
                <a:gd name="connsiteX67" fmla="*/ 228203 w 620091"/>
                <a:gd name="connsiteY67" fmla="*/ 144384 h 647628"/>
                <a:gd name="connsiteX68" fmla="*/ 186483 w 620091"/>
                <a:gd name="connsiteY68" fmla="*/ 216403 h 647628"/>
                <a:gd name="connsiteX69" fmla="*/ 162804 w 620091"/>
                <a:gd name="connsiteY69" fmla="*/ 230138 h 647628"/>
                <a:gd name="connsiteX70" fmla="*/ 162804 w 620091"/>
                <a:gd name="connsiteY70" fmla="*/ 230138 h 647628"/>
                <a:gd name="connsiteX71" fmla="*/ 156023 w 620091"/>
                <a:gd name="connsiteY71" fmla="*/ 229243 h 647628"/>
                <a:gd name="connsiteX72" fmla="*/ 38560 w 620091"/>
                <a:gd name="connsiteY72" fmla="*/ 198696 h 647628"/>
                <a:gd name="connsiteX73" fmla="*/ 19605 w 620091"/>
                <a:gd name="connsiteY73" fmla="*/ 166521 h 647628"/>
                <a:gd name="connsiteX74" fmla="*/ 51924 w 620091"/>
                <a:gd name="connsiteY74" fmla="*/ 145451 h 647628"/>
                <a:gd name="connsiteX75" fmla="*/ 142535 w 620091"/>
                <a:gd name="connsiteY75" fmla="*/ 169035 h 647628"/>
                <a:gd name="connsiteX76" fmla="*/ 153175 w 620091"/>
                <a:gd name="connsiteY76" fmla="*/ 164616 h 647628"/>
                <a:gd name="connsiteX77" fmla="*/ 208667 w 620091"/>
                <a:gd name="connsiteY77" fmla="*/ 69461 h 647628"/>
                <a:gd name="connsiteX78" fmla="*/ 224298 w 620091"/>
                <a:gd name="connsiteY78" fmla="*/ 57193 h 647628"/>
                <a:gd name="connsiteX79" fmla="*/ 344513 w 620091"/>
                <a:gd name="connsiteY79" fmla="*/ 20188 h 647628"/>
                <a:gd name="connsiteX80" fmla="*/ 365744 w 620091"/>
                <a:gd name="connsiteY80" fmla="*/ 22341 h 647628"/>
                <a:gd name="connsiteX81" fmla="*/ 468300 w 620091"/>
                <a:gd name="connsiteY81" fmla="*/ 77833 h 647628"/>
                <a:gd name="connsiteX82" fmla="*/ 477948 w 620091"/>
                <a:gd name="connsiteY82" fmla="*/ 77481 h 647628"/>
                <a:gd name="connsiteX83" fmla="*/ 558911 w 620091"/>
                <a:gd name="connsiteY83" fmla="*/ 25741 h 647628"/>
                <a:gd name="connsiteX84" fmla="*/ 596754 w 620091"/>
                <a:gd name="connsiteY84" fmla="*/ 34228 h 647628"/>
                <a:gd name="connsiteX85" fmla="*/ 588267 w 620091"/>
                <a:gd name="connsiteY85" fmla="*/ 72071 h 647628"/>
                <a:gd name="connsiteX86" fmla="*/ 488940 w 620091"/>
                <a:gd name="connsiteY86" fmla="*/ 135612 h 647628"/>
                <a:gd name="connsiteX87" fmla="*/ 460994 w 620091"/>
                <a:gd name="connsiteY87" fmla="*/ 136564 h 647628"/>
                <a:gd name="connsiteX88" fmla="*/ 373278 w 620091"/>
                <a:gd name="connsiteY88" fmla="*/ 88663 h 647628"/>
                <a:gd name="connsiteX89" fmla="*/ 372888 w 620091"/>
                <a:gd name="connsiteY89" fmla="*/ 80891 h 647628"/>
                <a:gd name="connsiteX90" fmla="*/ 362887 w 620091"/>
                <a:gd name="connsiteY90" fmla="*/ 71842 h 647628"/>
                <a:gd name="connsiteX91" fmla="*/ 353838 w 620091"/>
                <a:gd name="connsiteY91" fmla="*/ 81843 h 647628"/>
                <a:gd name="connsiteX92" fmla="*/ 354476 w 620091"/>
                <a:gd name="connsiteY92" fmla="*/ 94292 h 647628"/>
                <a:gd name="connsiteX93" fmla="*/ 354476 w 620091"/>
                <a:gd name="connsiteY93" fmla="*/ 94902 h 647628"/>
                <a:gd name="connsiteX94" fmla="*/ 356143 w 620091"/>
                <a:gd name="connsiteY94" fmla="*/ 125601 h 647628"/>
                <a:gd name="connsiteX95" fmla="*/ 356229 w 620091"/>
                <a:gd name="connsiteY95" fmla="*/ 127211 h 647628"/>
                <a:gd name="connsiteX96" fmla="*/ 356229 w 620091"/>
                <a:gd name="connsiteY96" fmla="*/ 127211 h 647628"/>
                <a:gd name="connsiteX97" fmla="*/ 362258 w 620091"/>
                <a:gd name="connsiteY97" fmla="*/ 238406 h 647628"/>
                <a:gd name="connsiteX98" fmla="*/ 377603 w 620091"/>
                <a:gd name="connsiteY98" fmla="*/ 426715 h 647628"/>
                <a:gd name="connsiteX99" fmla="*/ 379355 w 620091"/>
                <a:gd name="connsiteY99" fmla="*/ 431477 h 647628"/>
                <a:gd name="connsiteX100" fmla="*/ 465909 w 620091"/>
                <a:gd name="connsiteY100" fmla="*/ 552664 h 647628"/>
                <a:gd name="connsiteX101" fmla="*/ 459578 w 620091"/>
                <a:gd name="connsiteY101" fmla="*/ 591089 h 647628"/>
                <a:gd name="connsiteX102" fmla="*/ 459565 w 620091"/>
                <a:gd name="connsiteY102" fmla="*/ 591097 h 6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20091" h="647628">
                  <a:moveTo>
                    <a:pt x="396357" y="422619"/>
                  </a:moveTo>
                  <a:lnTo>
                    <a:pt x="381232" y="237186"/>
                  </a:lnTo>
                  <a:lnTo>
                    <a:pt x="374440" y="111180"/>
                  </a:lnTo>
                  <a:cubicBezTo>
                    <a:pt x="374438" y="111128"/>
                    <a:pt x="374479" y="111084"/>
                    <a:pt x="374532" y="111082"/>
                  </a:cubicBezTo>
                  <a:cubicBezTo>
                    <a:pt x="374550" y="111081"/>
                    <a:pt x="374568" y="111086"/>
                    <a:pt x="374583" y="111095"/>
                  </a:cubicBezTo>
                  <a:lnTo>
                    <a:pt x="451860" y="153290"/>
                  </a:lnTo>
                  <a:cubicBezTo>
                    <a:pt x="466754" y="161427"/>
                    <a:pt x="484899" y="160803"/>
                    <a:pt x="499199" y="151662"/>
                  </a:cubicBezTo>
                  <a:lnTo>
                    <a:pt x="598478" y="88139"/>
                  </a:lnTo>
                  <a:cubicBezTo>
                    <a:pt x="620155" y="74370"/>
                    <a:pt x="626601" y="45655"/>
                    <a:pt x="612889" y="23941"/>
                  </a:cubicBezTo>
                  <a:lnTo>
                    <a:pt x="612889" y="23941"/>
                  </a:lnTo>
                  <a:cubicBezTo>
                    <a:pt x="599095" y="2271"/>
                    <a:pt x="570347" y="-4113"/>
                    <a:pt x="548677" y="9680"/>
                  </a:cubicBezTo>
                  <a:cubicBezTo>
                    <a:pt x="548647" y="9700"/>
                    <a:pt x="548616" y="9719"/>
                    <a:pt x="548586" y="9739"/>
                  </a:cubicBezTo>
                  <a:lnTo>
                    <a:pt x="472386" y="58431"/>
                  </a:lnTo>
                  <a:lnTo>
                    <a:pt x="374793" y="5643"/>
                  </a:lnTo>
                  <a:cubicBezTo>
                    <a:pt x="363785" y="-317"/>
                    <a:pt x="350848" y="-1617"/>
                    <a:pt x="338874" y="2033"/>
                  </a:cubicBezTo>
                  <a:lnTo>
                    <a:pt x="218668" y="38981"/>
                  </a:lnTo>
                  <a:cubicBezTo>
                    <a:pt x="207556" y="42387"/>
                    <a:pt x="198121" y="49833"/>
                    <a:pt x="192227" y="59850"/>
                  </a:cubicBezTo>
                  <a:lnTo>
                    <a:pt x="140382" y="148785"/>
                  </a:lnTo>
                  <a:lnTo>
                    <a:pt x="56382" y="126877"/>
                  </a:lnTo>
                  <a:cubicBezTo>
                    <a:pt x="31282" y="121412"/>
                    <a:pt x="6505" y="137327"/>
                    <a:pt x="1040" y="162427"/>
                  </a:cubicBezTo>
                  <a:cubicBezTo>
                    <a:pt x="1037" y="162439"/>
                    <a:pt x="1034" y="162450"/>
                    <a:pt x="1032" y="162463"/>
                  </a:cubicBezTo>
                  <a:cubicBezTo>
                    <a:pt x="-4043" y="186314"/>
                    <a:pt x="10050" y="210065"/>
                    <a:pt x="33417" y="217041"/>
                  </a:cubicBezTo>
                  <a:lnTo>
                    <a:pt x="151079" y="247645"/>
                  </a:lnTo>
                  <a:cubicBezTo>
                    <a:pt x="154936" y="248514"/>
                    <a:pt x="158864" y="249024"/>
                    <a:pt x="162814" y="249169"/>
                  </a:cubicBezTo>
                  <a:cubicBezTo>
                    <a:pt x="179360" y="249077"/>
                    <a:pt x="194621" y="240231"/>
                    <a:pt x="202924" y="225918"/>
                  </a:cubicBezTo>
                  <a:lnTo>
                    <a:pt x="229213" y="180551"/>
                  </a:lnTo>
                  <a:cubicBezTo>
                    <a:pt x="229244" y="180509"/>
                    <a:pt x="229303" y="180499"/>
                    <a:pt x="229346" y="180531"/>
                  </a:cubicBezTo>
                  <a:cubicBezTo>
                    <a:pt x="229368" y="180547"/>
                    <a:pt x="229381" y="180572"/>
                    <a:pt x="229384" y="180598"/>
                  </a:cubicBezTo>
                  <a:lnTo>
                    <a:pt x="233327" y="252093"/>
                  </a:lnTo>
                  <a:lnTo>
                    <a:pt x="160156" y="432525"/>
                  </a:lnTo>
                  <a:cubicBezTo>
                    <a:pt x="155884" y="443405"/>
                    <a:pt x="155884" y="455498"/>
                    <a:pt x="160156" y="466377"/>
                  </a:cubicBezTo>
                  <a:lnTo>
                    <a:pt x="217154" y="617386"/>
                  </a:lnTo>
                  <a:cubicBezTo>
                    <a:pt x="223801" y="635391"/>
                    <a:pt x="240873" y="647422"/>
                    <a:pt x="260064" y="647628"/>
                  </a:cubicBezTo>
                  <a:lnTo>
                    <a:pt x="260255" y="647628"/>
                  </a:lnTo>
                  <a:cubicBezTo>
                    <a:pt x="265814" y="647638"/>
                    <a:pt x="271328" y="646615"/>
                    <a:pt x="276514" y="644609"/>
                  </a:cubicBezTo>
                  <a:cubicBezTo>
                    <a:pt x="300491" y="635500"/>
                    <a:pt x="312599" y="608726"/>
                    <a:pt x="303603" y="584706"/>
                  </a:cubicBezTo>
                  <a:lnTo>
                    <a:pt x="253044" y="450661"/>
                  </a:lnTo>
                  <a:lnTo>
                    <a:pt x="296431" y="343981"/>
                  </a:lnTo>
                  <a:cubicBezTo>
                    <a:pt x="296454" y="343928"/>
                    <a:pt x="296517" y="343905"/>
                    <a:pt x="296570" y="343929"/>
                  </a:cubicBezTo>
                  <a:cubicBezTo>
                    <a:pt x="296593" y="343940"/>
                    <a:pt x="296611" y="343958"/>
                    <a:pt x="296621" y="343981"/>
                  </a:cubicBezTo>
                  <a:lnTo>
                    <a:pt x="304708" y="443041"/>
                  </a:lnTo>
                  <a:cubicBezTo>
                    <a:pt x="305391" y="451409"/>
                    <a:pt x="308327" y="459437"/>
                    <a:pt x="313204" y="466272"/>
                  </a:cubicBezTo>
                  <a:lnTo>
                    <a:pt x="405673" y="595812"/>
                  </a:lnTo>
                  <a:cubicBezTo>
                    <a:pt x="420813" y="616589"/>
                    <a:pt x="449930" y="621158"/>
                    <a:pt x="470707" y="606018"/>
                  </a:cubicBezTo>
                  <a:cubicBezTo>
                    <a:pt x="491232" y="591061"/>
                    <a:pt x="495980" y="562413"/>
                    <a:pt x="481377" y="541634"/>
                  </a:cubicBezTo>
                  <a:close/>
                  <a:moveTo>
                    <a:pt x="459565" y="591097"/>
                  </a:moveTo>
                  <a:cubicBezTo>
                    <a:pt x="447218" y="599931"/>
                    <a:pt x="430048" y="597088"/>
                    <a:pt x="421208" y="584744"/>
                  </a:cubicBezTo>
                  <a:lnTo>
                    <a:pt x="328711" y="455223"/>
                  </a:lnTo>
                  <a:cubicBezTo>
                    <a:pt x="325831" y="451178"/>
                    <a:pt x="324100" y="446429"/>
                    <a:pt x="323701" y="441479"/>
                  </a:cubicBezTo>
                  <a:lnTo>
                    <a:pt x="312328" y="302223"/>
                  </a:lnTo>
                  <a:cubicBezTo>
                    <a:pt x="311931" y="296978"/>
                    <a:pt x="307357" y="293047"/>
                    <a:pt x="302111" y="293444"/>
                  </a:cubicBezTo>
                  <a:cubicBezTo>
                    <a:pt x="298502" y="293716"/>
                    <a:pt x="295360" y="296011"/>
                    <a:pt x="294002" y="299366"/>
                  </a:cubicBezTo>
                  <a:lnTo>
                    <a:pt x="233994" y="446898"/>
                  </a:lnTo>
                  <a:cubicBezTo>
                    <a:pt x="233090" y="449123"/>
                    <a:pt x="233060" y="451606"/>
                    <a:pt x="233908" y="453852"/>
                  </a:cubicBezTo>
                  <a:lnTo>
                    <a:pt x="285772" y="591431"/>
                  </a:lnTo>
                  <a:cubicBezTo>
                    <a:pt x="291084" y="605641"/>
                    <a:pt x="283898" y="621471"/>
                    <a:pt x="269703" y="626826"/>
                  </a:cubicBezTo>
                  <a:cubicBezTo>
                    <a:pt x="266672" y="627915"/>
                    <a:pt x="263485" y="628510"/>
                    <a:pt x="260264" y="628588"/>
                  </a:cubicBezTo>
                  <a:cubicBezTo>
                    <a:pt x="248946" y="628438"/>
                    <a:pt x="238891" y="621324"/>
                    <a:pt x="234985" y="610700"/>
                  </a:cubicBezTo>
                  <a:lnTo>
                    <a:pt x="177882" y="459538"/>
                  </a:lnTo>
                  <a:cubicBezTo>
                    <a:pt x="175377" y="453126"/>
                    <a:pt x="175377" y="446005"/>
                    <a:pt x="177882" y="439593"/>
                  </a:cubicBezTo>
                  <a:lnTo>
                    <a:pt x="251825" y="257284"/>
                  </a:lnTo>
                  <a:cubicBezTo>
                    <a:pt x="252357" y="255981"/>
                    <a:pt x="252589" y="254574"/>
                    <a:pt x="252501" y="253169"/>
                  </a:cubicBezTo>
                  <a:lnTo>
                    <a:pt x="248691" y="183485"/>
                  </a:lnTo>
                  <a:lnTo>
                    <a:pt x="248691" y="183485"/>
                  </a:lnTo>
                  <a:lnTo>
                    <a:pt x="246853" y="132450"/>
                  </a:lnTo>
                  <a:cubicBezTo>
                    <a:pt x="246663" y="127189"/>
                    <a:pt x="242246" y="123078"/>
                    <a:pt x="236985" y="123267"/>
                  </a:cubicBezTo>
                  <a:cubicBezTo>
                    <a:pt x="231724" y="123457"/>
                    <a:pt x="227613" y="127875"/>
                    <a:pt x="227803" y="133135"/>
                  </a:cubicBezTo>
                  <a:lnTo>
                    <a:pt x="228203" y="144384"/>
                  </a:lnTo>
                  <a:lnTo>
                    <a:pt x="186483" y="216403"/>
                  </a:lnTo>
                  <a:cubicBezTo>
                    <a:pt x="181587" y="224858"/>
                    <a:pt x="172575" y="230085"/>
                    <a:pt x="162804" y="230138"/>
                  </a:cubicBezTo>
                  <a:lnTo>
                    <a:pt x="162804" y="230138"/>
                  </a:lnTo>
                  <a:cubicBezTo>
                    <a:pt x="160515" y="230138"/>
                    <a:pt x="158234" y="229837"/>
                    <a:pt x="156023" y="229243"/>
                  </a:cubicBezTo>
                  <a:lnTo>
                    <a:pt x="38560" y="198696"/>
                  </a:lnTo>
                  <a:cubicBezTo>
                    <a:pt x="24851" y="194513"/>
                    <a:pt x="16619" y="180539"/>
                    <a:pt x="19605" y="166521"/>
                  </a:cubicBezTo>
                  <a:cubicBezTo>
                    <a:pt x="22809" y="151844"/>
                    <a:pt x="37203" y="142460"/>
                    <a:pt x="51924" y="145451"/>
                  </a:cubicBezTo>
                  <a:lnTo>
                    <a:pt x="142535" y="169035"/>
                  </a:lnTo>
                  <a:cubicBezTo>
                    <a:pt x="146672" y="170117"/>
                    <a:pt x="151022" y="168309"/>
                    <a:pt x="153175" y="164616"/>
                  </a:cubicBezTo>
                  <a:lnTo>
                    <a:pt x="208667" y="69461"/>
                  </a:lnTo>
                  <a:cubicBezTo>
                    <a:pt x="212158" y="63559"/>
                    <a:pt x="217735" y="59180"/>
                    <a:pt x="224298" y="57193"/>
                  </a:cubicBezTo>
                  <a:lnTo>
                    <a:pt x="344513" y="20188"/>
                  </a:lnTo>
                  <a:cubicBezTo>
                    <a:pt x="351593" y="18032"/>
                    <a:pt x="359241" y="18808"/>
                    <a:pt x="365744" y="22341"/>
                  </a:cubicBezTo>
                  <a:lnTo>
                    <a:pt x="468300" y="77833"/>
                  </a:lnTo>
                  <a:cubicBezTo>
                    <a:pt x="471342" y="79475"/>
                    <a:pt x="475035" y="79340"/>
                    <a:pt x="477948" y="77481"/>
                  </a:cubicBezTo>
                  <a:lnTo>
                    <a:pt x="558911" y="25741"/>
                  </a:lnTo>
                  <a:cubicBezTo>
                    <a:pt x="571705" y="17634"/>
                    <a:pt x="588647" y="21434"/>
                    <a:pt x="596754" y="34228"/>
                  </a:cubicBezTo>
                  <a:cubicBezTo>
                    <a:pt x="604861" y="47022"/>
                    <a:pt x="601061" y="63964"/>
                    <a:pt x="588267" y="72071"/>
                  </a:cubicBezTo>
                  <a:lnTo>
                    <a:pt x="488940" y="135612"/>
                  </a:lnTo>
                  <a:cubicBezTo>
                    <a:pt x="480495" y="141001"/>
                    <a:pt x="469787" y="141367"/>
                    <a:pt x="460994" y="136564"/>
                  </a:cubicBezTo>
                  <a:lnTo>
                    <a:pt x="373278" y="88663"/>
                  </a:lnTo>
                  <a:lnTo>
                    <a:pt x="372888" y="80891"/>
                  </a:lnTo>
                  <a:cubicBezTo>
                    <a:pt x="372625" y="75630"/>
                    <a:pt x="368147" y="71579"/>
                    <a:pt x="362887" y="71842"/>
                  </a:cubicBezTo>
                  <a:cubicBezTo>
                    <a:pt x="357626" y="72105"/>
                    <a:pt x="353575" y="76583"/>
                    <a:pt x="353838" y="81843"/>
                  </a:cubicBezTo>
                  <a:lnTo>
                    <a:pt x="354476" y="94292"/>
                  </a:lnTo>
                  <a:cubicBezTo>
                    <a:pt x="354476" y="94492"/>
                    <a:pt x="354419" y="94692"/>
                    <a:pt x="354476" y="94902"/>
                  </a:cubicBezTo>
                  <a:lnTo>
                    <a:pt x="356143" y="125601"/>
                  </a:lnTo>
                  <a:lnTo>
                    <a:pt x="356229" y="127211"/>
                  </a:lnTo>
                  <a:lnTo>
                    <a:pt x="356229" y="127211"/>
                  </a:lnTo>
                  <a:lnTo>
                    <a:pt x="362258" y="238406"/>
                  </a:lnTo>
                  <a:lnTo>
                    <a:pt x="377603" y="426715"/>
                  </a:lnTo>
                  <a:cubicBezTo>
                    <a:pt x="377742" y="428432"/>
                    <a:pt x="378347" y="430079"/>
                    <a:pt x="379355" y="431477"/>
                  </a:cubicBezTo>
                  <a:lnTo>
                    <a:pt x="465909" y="552664"/>
                  </a:lnTo>
                  <a:cubicBezTo>
                    <a:pt x="474771" y="565023"/>
                    <a:pt x="471936" y="582227"/>
                    <a:pt x="459578" y="591089"/>
                  </a:cubicBezTo>
                  <a:cubicBezTo>
                    <a:pt x="459573" y="591092"/>
                    <a:pt x="459569" y="591095"/>
                    <a:pt x="459565" y="591097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25BE2F75-4B35-0BAC-478D-6CD10171FCEC}"/>
                </a:ext>
              </a:extLst>
            </p:cNvPr>
            <p:cNvSpPr/>
            <p:nvPr/>
          </p:nvSpPr>
          <p:spPr>
            <a:xfrm>
              <a:off x="5078977" y="2115101"/>
              <a:ext cx="152400" cy="152400"/>
            </a:xfrm>
            <a:custGeom>
              <a:avLst/>
              <a:gdLst>
                <a:gd name="connsiteX0" fmla="*/ 76200 w 152400"/>
                <a:gd name="connsiteY0" fmla="*/ 152400 h 152400"/>
                <a:gd name="connsiteX1" fmla="*/ 152400 w 152400"/>
                <a:gd name="connsiteY1" fmla="*/ 76200 h 152400"/>
                <a:gd name="connsiteX2" fmla="*/ 76200 w 152400"/>
                <a:gd name="connsiteY2" fmla="*/ 0 h 152400"/>
                <a:gd name="connsiteX3" fmla="*/ 0 w 152400"/>
                <a:gd name="connsiteY3" fmla="*/ 76200 h 152400"/>
                <a:gd name="connsiteX4" fmla="*/ 76200 w 152400"/>
                <a:gd name="connsiteY4" fmla="*/ 152400 h 152400"/>
                <a:gd name="connsiteX5" fmla="*/ 76200 w 152400"/>
                <a:gd name="connsiteY5" fmla="*/ 19050 h 152400"/>
                <a:gd name="connsiteX6" fmla="*/ 133350 w 152400"/>
                <a:gd name="connsiteY6" fmla="*/ 76200 h 152400"/>
                <a:gd name="connsiteX7" fmla="*/ 76200 w 152400"/>
                <a:gd name="connsiteY7" fmla="*/ 133350 h 152400"/>
                <a:gd name="connsiteX8" fmla="*/ 19050 w 152400"/>
                <a:gd name="connsiteY8" fmla="*/ 76200 h 152400"/>
                <a:gd name="connsiteX9" fmla="*/ 76200 w 152400"/>
                <a:gd name="connsiteY9" fmla="*/ 18993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400" h="152400">
                  <a:moveTo>
                    <a:pt x="76200" y="152400"/>
                  </a:moveTo>
                  <a:cubicBezTo>
                    <a:pt x="118284" y="152400"/>
                    <a:pt x="152400" y="118284"/>
                    <a:pt x="152400" y="76200"/>
                  </a:cubicBezTo>
                  <a:cubicBezTo>
                    <a:pt x="152400" y="34116"/>
                    <a:pt x="118284" y="0"/>
                    <a:pt x="76200" y="0"/>
                  </a:cubicBezTo>
                  <a:cubicBezTo>
                    <a:pt x="34116" y="0"/>
                    <a:pt x="0" y="34116"/>
                    <a:pt x="0" y="76200"/>
                  </a:cubicBezTo>
                  <a:cubicBezTo>
                    <a:pt x="0" y="118284"/>
                    <a:pt x="34116" y="152400"/>
                    <a:pt x="76200" y="152400"/>
                  </a:cubicBezTo>
                  <a:close/>
                  <a:moveTo>
                    <a:pt x="76200" y="19050"/>
                  </a:moveTo>
                  <a:cubicBezTo>
                    <a:pt x="107763" y="19050"/>
                    <a:pt x="133350" y="44637"/>
                    <a:pt x="133350" y="76200"/>
                  </a:cubicBezTo>
                  <a:cubicBezTo>
                    <a:pt x="133350" y="107763"/>
                    <a:pt x="107763" y="133350"/>
                    <a:pt x="76200" y="133350"/>
                  </a:cubicBezTo>
                  <a:cubicBezTo>
                    <a:pt x="44637" y="133350"/>
                    <a:pt x="19050" y="107763"/>
                    <a:pt x="19050" y="76200"/>
                  </a:cubicBezTo>
                  <a:cubicBezTo>
                    <a:pt x="19060" y="44632"/>
                    <a:pt x="44632" y="19035"/>
                    <a:pt x="76200" y="18993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8E6FAD0F-F0B2-86E0-E5BC-08A64BA3DF4C}"/>
                </a:ext>
              </a:extLst>
            </p:cNvPr>
            <p:cNvSpPr/>
            <p:nvPr/>
          </p:nvSpPr>
          <p:spPr>
            <a:xfrm>
              <a:off x="5375542" y="2439027"/>
              <a:ext cx="216768" cy="263907"/>
            </a:xfrm>
            <a:custGeom>
              <a:avLst/>
              <a:gdLst>
                <a:gd name="connsiteX0" fmla="*/ 215424 w 216768"/>
                <a:gd name="connsiteY0" fmla="*/ 161792 h 263907"/>
                <a:gd name="connsiteX1" fmla="*/ 186849 w 216768"/>
                <a:gd name="connsiteY1" fmla="*/ 0 h 263907"/>
                <a:gd name="connsiteX2" fmla="*/ 27934 w 216768"/>
                <a:gd name="connsiteY2" fmla="*/ 67618 h 263907"/>
                <a:gd name="connsiteX3" fmla="*/ 51289 w 216768"/>
                <a:gd name="connsiteY3" fmla="*/ 200082 h 263907"/>
                <a:gd name="connsiteX4" fmla="*/ 23285 w 216768"/>
                <a:gd name="connsiteY4" fmla="*/ 207131 h 263907"/>
                <a:gd name="connsiteX5" fmla="*/ 2921 w 216768"/>
                <a:gd name="connsiteY5" fmla="*/ 251898 h 263907"/>
                <a:gd name="connsiteX6" fmla="*/ 26733 w 216768"/>
                <a:gd name="connsiteY6" fmla="*/ 263852 h 263907"/>
                <a:gd name="connsiteX7" fmla="*/ 51832 w 216768"/>
                <a:gd name="connsiteY7" fmla="*/ 256642 h 263907"/>
                <a:gd name="connsiteX8" fmla="*/ 73072 w 216768"/>
                <a:gd name="connsiteY8" fmla="*/ 214055 h 263907"/>
                <a:gd name="connsiteX9" fmla="*/ 49260 w 216768"/>
                <a:gd name="connsiteY9" fmla="*/ 79324 h 263907"/>
                <a:gd name="connsiteX10" fmla="*/ 172132 w 216768"/>
                <a:gd name="connsiteY10" fmla="*/ 26641 h 263907"/>
                <a:gd name="connsiteX11" fmla="*/ 193421 w 216768"/>
                <a:gd name="connsiteY11" fmla="*/ 146485 h 263907"/>
                <a:gd name="connsiteX12" fmla="*/ 165036 w 216768"/>
                <a:gd name="connsiteY12" fmla="*/ 153533 h 263907"/>
                <a:gd name="connsiteX13" fmla="*/ 144672 w 216768"/>
                <a:gd name="connsiteY13" fmla="*/ 198301 h 263907"/>
                <a:gd name="connsiteX14" fmla="*/ 168484 w 216768"/>
                <a:gd name="connsiteY14" fmla="*/ 210245 h 263907"/>
                <a:gd name="connsiteX15" fmla="*/ 193573 w 216768"/>
                <a:gd name="connsiteY15" fmla="*/ 203044 h 263907"/>
                <a:gd name="connsiteX16" fmla="*/ 215424 w 216768"/>
                <a:gd name="connsiteY16" fmla="*/ 161792 h 263907"/>
                <a:gd name="connsiteX17" fmla="*/ 42335 w 216768"/>
                <a:gd name="connsiteY17" fmla="*/ 240125 h 263907"/>
                <a:gd name="connsiteX18" fmla="*/ 19428 w 216768"/>
                <a:gd name="connsiteY18" fmla="*/ 242354 h 263907"/>
                <a:gd name="connsiteX19" fmla="*/ 32810 w 216768"/>
                <a:gd name="connsiteY19" fmla="*/ 223628 h 263907"/>
                <a:gd name="connsiteX20" fmla="*/ 48431 w 216768"/>
                <a:gd name="connsiteY20" fmla="*/ 218942 h 263907"/>
                <a:gd name="connsiteX21" fmla="*/ 55718 w 216768"/>
                <a:gd name="connsiteY21" fmla="*/ 221361 h 263907"/>
                <a:gd name="connsiteX22" fmla="*/ 42335 w 216768"/>
                <a:gd name="connsiteY22" fmla="*/ 240125 h 263907"/>
                <a:gd name="connsiteX23" fmla="*/ 184144 w 216768"/>
                <a:gd name="connsiteY23" fmla="*/ 186557 h 263907"/>
                <a:gd name="connsiteX24" fmla="*/ 161236 w 216768"/>
                <a:gd name="connsiteY24" fmla="*/ 188786 h 263907"/>
                <a:gd name="connsiteX25" fmla="*/ 174619 w 216768"/>
                <a:gd name="connsiteY25" fmla="*/ 170050 h 263907"/>
                <a:gd name="connsiteX26" fmla="*/ 190230 w 216768"/>
                <a:gd name="connsiteY26" fmla="*/ 165411 h 263907"/>
                <a:gd name="connsiteX27" fmla="*/ 197526 w 216768"/>
                <a:gd name="connsiteY27" fmla="*/ 167830 h 263907"/>
                <a:gd name="connsiteX28" fmla="*/ 184144 w 216768"/>
                <a:gd name="connsiteY28" fmla="*/ 186557 h 263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16768" h="263907">
                  <a:moveTo>
                    <a:pt x="215424" y="161792"/>
                  </a:moveTo>
                  <a:lnTo>
                    <a:pt x="186849" y="0"/>
                  </a:lnTo>
                  <a:lnTo>
                    <a:pt x="27934" y="67618"/>
                  </a:lnTo>
                  <a:lnTo>
                    <a:pt x="51289" y="200082"/>
                  </a:lnTo>
                  <a:cubicBezTo>
                    <a:pt x="41461" y="199590"/>
                    <a:pt x="31709" y="202044"/>
                    <a:pt x="23285" y="207131"/>
                  </a:cubicBezTo>
                  <a:cubicBezTo>
                    <a:pt x="3864" y="218351"/>
                    <a:pt x="-5071" y="238001"/>
                    <a:pt x="2921" y="251898"/>
                  </a:cubicBezTo>
                  <a:cubicBezTo>
                    <a:pt x="8108" y="259900"/>
                    <a:pt x="17217" y="264472"/>
                    <a:pt x="26733" y="263852"/>
                  </a:cubicBezTo>
                  <a:cubicBezTo>
                    <a:pt x="35584" y="263670"/>
                    <a:pt x="44235" y="261185"/>
                    <a:pt x="51832" y="256642"/>
                  </a:cubicBezTo>
                  <a:cubicBezTo>
                    <a:pt x="70291" y="245983"/>
                    <a:pt x="79102" y="227762"/>
                    <a:pt x="73072" y="214055"/>
                  </a:cubicBezTo>
                  <a:lnTo>
                    <a:pt x="49260" y="79324"/>
                  </a:lnTo>
                  <a:lnTo>
                    <a:pt x="172132" y="26641"/>
                  </a:lnTo>
                  <a:lnTo>
                    <a:pt x="193421" y="146485"/>
                  </a:lnTo>
                  <a:cubicBezTo>
                    <a:pt x="183463" y="145904"/>
                    <a:pt x="173565" y="148362"/>
                    <a:pt x="165036" y="153533"/>
                  </a:cubicBezTo>
                  <a:cubicBezTo>
                    <a:pt x="145615" y="164744"/>
                    <a:pt x="136671" y="184404"/>
                    <a:pt x="144672" y="198301"/>
                  </a:cubicBezTo>
                  <a:cubicBezTo>
                    <a:pt x="149859" y="206303"/>
                    <a:pt x="158969" y="210872"/>
                    <a:pt x="168484" y="210245"/>
                  </a:cubicBezTo>
                  <a:cubicBezTo>
                    <a:pt x="177330" y="210062"/>
                    <a:pt x="185976" y="207580"/>
                    <a:pt x="193573" y="203044"/>
                  </a:cubicBezTo>
                  <a:cubicBezTo>
                    <a:pt x="211499" y="192691"/>
                    <a:pt x="220338" y="175289"/>
                    <a:pt x="215424" y="161792"/>
                  </a:cubicBezTo>
                  <a:close/>
                  <a:moveTo>
                    <a:pt x="42335" y="240125"/>
                  </a:moveTo>
                  <a:cubicBezTo>
                    <a:pt x="31077" y="246621"/>
                    <a:pt x="21114" y="245269"/>
                    <a:pt x="19428" y="242354"/>
                  </a:cubicBezTo>
                  <a:cubicBezTo>
                    <a:pt x="17742" y="239439"/>
                    <a:pt x="21552" y="230124"/>
                    <a:pt x="32810" y="223628"/>
                  </a:cubicBezTo>
                  <a:cubicBezTo>
                    <a:pt x="37525" y="220742"/>
                    <a:pt x="42907" y="219127"/>
                    <a:pt x="48431" y="218942"/>
                  </a:cubicBezTo>
                  <a:cubicBezTo>
                    <a:pt x="52241" y="218942"/>
                    <a:pt x="54918" y="219970"/>
                    <a:pt x="55718" y="221361"/>
                  </a:cubicBezTo>
                  <a:cubicBezTo>
                    <a:pt x="57394" y="224314"/>
                    <a:pt x="53594" y="233629"/>
                    <a:pt x="42335" y="240125"/>
                  </a:cubicBezTo>
                  <a:close/>
                  <a:moveTo>
                    <a:pt x="184144" y="186557"/>
                  </a:moveTo>
                  <a:cubicBezTo>
                    <a:pt x="172904" y="193043"/>
                    <a:pt x="162912" y="191691"/>
                    <a:pt x="161236" y="188786"/>
                  </a:cubicBezTo>
                  <a:cubicBezTo>
                    <a:pt x="159559" y="185880"/>
                    <a:pt x="163360" y="176555"/>
                    <a:pt x="174619" y="170050"/>
                  </a:cubicBezTo>
                  <a:cubicBezTo>
                    <a:pt x="179334" y="167181"/>
                    <a:pt x="184713" y="165583"/>
                    <a:pt x="190230" y="165411"/>
                  </a:cubicBezTo>
                  <a:cubicBezTo>
                    <a:pt x="194040" y="165411"/>
                    <a:pt x="196726" y="166440"/>
                    <a:pt x="197526" y="167830"/>
                  </a:cubicBezTo>
                  <a:cubicBezTo>
                    <a:pt x="199174" y="170698"/>
                    <a:pt x="195364" y="180013"/>
                    <a:pt x="184144" y="186557"/>
                  </a:cubicBezTo>
                  <a:close/>
                </a:path>
              </a:pathLst>
            </a:custGeom>
            <a:solidFill>
              <a:srgbClr val="1DB9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30" name="Group 1129">
            <a:extLst>
              <a:ext uri="{FF2B5EF4-FFF2-40B4-BE49-F238E27FC236}">
                <a16:creationId xmlns:a16="http://schemas.microsoft.com/office/drawing/2014/main" id="{4A86587E-CE56-93DE-DF4D-0D33D650AEF4}"/>
              </a:ext>
            </a:extLst>
          </p:cNvPr>
          <p:cNvGrpSpPr/>
          <p:nvPr/>
        </p:nvGrpSpPr>
        <p:grpSpPr>
          <a:xfrm>
            <a:off x="125270" y="3078823"/>
            <a:ext cx="446466" cy="467805"/>
            <a:chOff x="5608643" y="3761395"/>
            <a:chExt cx="685771" cy="800145"/>
          </a:xfrm>
        </p:grpSpPr>
        <p:sp>
          <p:nvSpPr>
            <p:cNvPr id="1093" name="Freeform: Shape 1092">
              <a:extLst>
                <a:ext uri="{FF2B5EF4-FFF2-40B4-BE49-F238E27FC236}">
                  <a16:creationId xmlns:a16="http://schemas.microsoft.com/office/drawing/2014/main" id="{5D32B2DF-FE1A-3B6A-6AEA-D4D493D039FB}"/>
                </a:ext>
              </a:extLst>
            </p:cNvPr>
            <p:cNvSpPr/>
            <p:nvPr/>
          </p:nvSpPr>
          <p:spPr>
            <a:xfrm>
              <a:off x="5781227" y="3761395"/>
              <a:ext cx="513187" cy="762093"/>
            </a:xfrm>
            <a:custGeom>
              <a:avLst/>
              <a:gdLst>
                <a:gd name="connsiteX0" fmla="*/ 357216 w 513187"/>
                <a:gd name="connsiteY0" fmla="*/ 445025 h 762093"/>
                <a:gd name="connsiteX1" fmla="*/ 469249 w 513187"/>
                <a:gd name="connsiteY1" fmla="*/ 502833 h 762093"/>
                <a:gd name="connsiteX2" fmla="*/ 494138 w 513187"/>
                <a:gd name="connsiteY2" fmla="*/ 552486 h 762093"/>
                <a:gd name="connsiteX3" fmla="*/ 494138 w 513187"/>
                <a:gd name="connsiteY3" fmla="*/ 704658 h 762093"/>
                <a:gd name="connsiteX4" fmla="*/ 137655 w 513187"/>
                <a:gd name="connsiteY4" fmla="*/ 741139 h 762093"/>
                <a:gd name="connsiteX5" fmla="*/ 123444 w 513187"/>
                <a:gd name="connsiteY5" fmla="*/ 758931 h 762093"/>
                <a:gd name="connsiteX6" fmla="*/ 221018 w 513187"/>
                <a:gd name="connsiteY6" fmla="*/ 762094 h 762093"/>
                <a:gd name="connsiteX7" fmla="*/ 509368 w 513187"/>
                <a:gd name="connsiteY7" fmla="*/ 717269 h 762093"/>
                <a:gd name="connsiteX8" fmla="*/ 513188 w 513187"/>
                <a:gd name="connsiteY8" fmla="*/ 714411 h 762093"/>
                <a:gd name="connsiteX9" fmla="*/ 513188 w 513187"/>
                <a:gd name="connsiteY9" fmla="*/ 552286 h 762093"/>
                <a:gd name="connsiteX10" fmla="*/ 481117 w 513187"/>
                <a:gd name="connsiteY10" fmla="*/ 487964 h 762093"/>
                <a:gd name="connsiteX11" fmla="*/ 362417 w 513187"/>
                <a:gd name="connsiteY11" fmla="*/ 426680 h 762093"/>
                <a:gd name="connsiteX12" fmla="*/ 315497 w 513187"/>
                <a:gd name="connsiteY12" fmla="*/ 407430 h 762093"/>
                <a:gd name="connsiteX13" fmla="*/ 303686 w 513187"/>
                <a:gd name="connsiteY13" fmla="*/ 389799 h 762093"/>
                <a:gd name="connsiteX14" fmla="*/ 303686 w 513187"/>
                <a:gd name="connsiteY14" fmla="*/ 361729 h 762093"/>
                <a:gd name="connsiteX15" fmla="*/ 348872 w 513187"/>
                <a:gd name="connsiteY15" fmla="*/ 304836 h 762093"/>
                <a:gd name="connsiteX16" fmla="*/ 379886 w 513187"/>
                <a:gd name="connsiteY16" fmla="*/ 304836 h 762093"/>
                <a:gd name="connsiteX17" fmla="*/ 427511 w 513187"/>
                <a:gd name="connsiteY17" fmla="*/ 257211 h 762093"/>
                <a:gd name="connsiteX18" fmla="*/ 427511 w 513187"/>
                <a:gd name="connsiteY18" fmla="*/ 200061 h 762093"/>
                <a:gd name="connsiteX19" fmla="*/ 379886 w 513187"/>
                <a:gd name="connsiteY19" fmla="*/ 152436 h 762093"/>
                <a:gd name="connsiteX20" fmla="*/ 379390 w 513187"/>
                <a:gd name="connsiteY20" fmla="*/ 152436 h 762093"/>
                <a:gd name="connsiteX21" fmla="*/ 208658 w 513187"/>
                <a:gd name="connsiteY21" fmla="*/ 271 h 762093"/>
                <a:gd name="connsiteX22" fmla="*/ 56493 w 513187"/>
                <a:gd name="connsiteY22" fmla="*/ 152436 h 762093"/>
                <a:gd name="connsiteX23" fmla="*/ 56026 w 513187"/>
                <a:gd name="connsiteY23" fmla="*/ 152436 h 762093"/>
                <a:gd name="connsiteX24" fmla="*/ 8401 w 513187"/>
                <a:gd name="connsiteY24" fmla="*/ 200061 h 762093"/>
                <a:gd name="connsiteX25" fmla="*/ 8401 w 513187"/>
                <a:gd name="connsiteY25" fmla="*/ 257211 h 762093"/>
                <a:gd name="connsiteX26" fmla="*/ 56026 w 513187"/>
                <a:gd name="connsiteY26" fmla="*/ 304836 h 762093"/>
                <a:gd name="connsiteX27" fmla="*/ 87135 w 513187"/>
                <a:gd name="connsiteY27" fmla="*/ 304836 h 762093"/>
                <a:gd name="connsiteX28" fmla="*/ 132188 w 513187"/>
                <a:gd name="connsiteY28" fmla="*/ 361663 h 762093"/>
                <a:gd name="connsiteX29" fmla="*/ 132188 w 513187"/>
                <a:gd name="connsiteY29" fmla="*/ 389799 h 762093"/>
                <a:gd name="connsiteX30" fmla="*/ 120367 w 513187"/>
                <a:gd name="connsiteY30" fmla="*/ 407430 h 762093"/>
                <a:gd name="connsiteX31" fmla="*/ 73342 w 513187"/>
                <a:gd name="connsiteY31" fmla="*/ 426756 h 762093"/>
                <a:gd name="connsiteX32" fmla="*/ 0 w 513187"/>
                <a:gd name="connsiteY32" fmla="*/ 458237 h 762093"/>
                <a:gd name="connsiteX33" fmla="*/ 32937 w 513187"/>
                <a:gd name="connsiteY33" fmla="*/ 463285 h 762093"/>
                <a:gd name="connsiteX34" fmla="*/ 98403 w 513187"/>
                <a:gd name="connsiteY34" fmla="*/ 438139 h 762093"/>
                <a:gd name="connsiteX35" fmla="*/ 337480 w 513187"/>
                <a:gd name="connsiteY35" fmla="*/ 438139 h 762093"/>
                <a:gd name="connsiteX36" fmla="*/ 94174 w 513187"/>
                <a:gd name="connsiteY36" fmla="*/ 247686 h 762093"/>
                <a:gd name="connsiteX37" fmla="*/ 94174 w 513187"/>
                <a:gd name="connsiteY37" fmla="*/ 200061 h 762093"/>
                <a:gd name="connsiteX38" fmla="*/ 220012 w 513187"/>
                <a:gd name="connsiteY38" fmla="*/ 78283 h 762093"/>
                <a:gd name="connsiteX39" fmla="*/ 341738 w 513187"/>
                <a:gd name="connsiteY39" fmla="*/ 197956 h 762093"/>
                <a:gd name="connsiteX40" fmla="*/ 302104 w 513187"/>
                <a:gd name="connsiteY40" fmla="*/ 147160 h 762093"/>
                <a:gd name="connsiteX41" fmla="*/ 288896 w 513187"/>
                <a:gd name="connsiteY41" fmla="*/ 144515 h 762093"/>
                <a:gd name="connsiteX42" fmla="*/ 286664 w 513187"/>
                <a:gd name="connsiteY42" fmla="*/ 146588 h 762093"/>
                <a:gd name="connsiteX43" fmla="*/ 99260 w 513187"/>
                <a:gd name="connsiteY43" fmla="*/ 282519 h 762093"/>
                <a:gd name="connsiteX44" fmla="*/ 94174 w 513187"/>
                <a:gd name="connsiteY44" fmla="*/ 247686 h 762093"/>
                <a:gd name="connsiteX45" fmla="*/ 408499 w 513187"/>
                <a:gd name="connsiteY45" fmla="*/ 200061 h 762093"/>
                <a:gd name="connsiteX46" fmla="*/ 408499 w 513187"/>
                <a:gd name="connsiteY46" fmla="*/ 257211 h 762093"/>
                <a:gd name="connsiteX47" fmla="*/ 379924 w 513187"/>
                <a:gd name="connsiteY47" fmla="*/ 285786 h 762093"/>
                <a:gd name="connsiteX48" fmla="*/ 360874 w 513187"/>
                <a:gd name="connsiteY48" fmla="*/ 285786 h 762093"/>
                <a:gd name="connsiteX49" fmla="*/ 360874 w 513187"/>
                <a:gd name="connsiteY49" fmla="*/ 248639 h 762093"/>
                <a:gd name="connsiteX50" fmla="*/ 360874 w 513187"/>
                <a:gd name="connsiteY50" fmla="*/ 247686 h 762093"/>
                <a:gd name="connsiteX51" fmla="*/ 360874 w 513187"/>
                <a:gd name="connsiteY51" fmla="*/ 200061 h 762093"/>
                <a:gd name="connsiteX52" fmla="*/ 360874 w 513187"/>
                <a:gd name="connsiteY52" fmla="*/ 199109 h 762093"/>
                <a:gd name="connsiteX53" fmla="*/ 360874 w 513187"/>
                <a:gd name="connsiteY53" fmla="*/ 171486 h 762093"/>
                <a:gd name="connsiteX54" fmla="*/ 379924 w 513187"/>
                <a:gd name="connsiteY54" fmla="*/ 171486 h 762093"/>
                <a:gd name="connsiteX55" fmla="*/ 408461 w 513187"/>
                <a:gd name="connsiteY55" fmla="*/ 200061 h 762093"/>
                <a:gd name="connsiteX56" fmla="*/ 217913 w 513187"/>
                <a:gd name="connsiteY56" fmla="*/ 19086 h 762093"/>
                <a:gd name="connsiteX57" fmla="*/ 360340 w 513187"/>
                <a:gd name="connsiteY57" fmla="*/ 152436 h 762093"/>
                <a:gd name="connsiteX58" fmla="*/ 352539 w 513187"/>
                <a:gd name="connsiteY58" fmla="*/ 152436 h 762093"/>
                <a:gd name="connsiteX59" fmla="*/ 170598 w 513187"/>
                <a:gd name="connsiteY59" fmla="*/ 65296 h 762093"/>
                <a:gd name="connsiteX60" fmla="*/ 83458 w 513187"/>
                <a:gd name="connsiteY60" fmla="*/ 152436 h 762093"/>
                <a:gd name="connsiteX61" fmla="*/ 75552 w 513187"/>
                <a:gd name="connsiteY61" fmla="*/ 152436 h 762093"/>
                <a:gd name="connsiteX62" fmla="*/ 217913 w 513187"/>
                <a:gd name="connsiteY62" fmla="*/ 19086 h 762093"/>
                <a:gd name="connsiteX63" fmla="*/ 75038 w 513187"/>
                <a:gd name="connsiteY63" fmla="*/ 285786 h 762093"/>
                <a:gd name="connsiteX64" fmla="*/ 55988 w 513187"/>
                <a:gd name="connsiteY64" fmla="*/ 285786 h 762093"/>
                <a:gd name="connsiteX65" fmla="*/ 27413 w 513187"/>
                <a:gd name="connsiteY65" fmla="*/ 257211 h 762093"/>
                <a:gd name="connsiteX66" fmla="*/ 27413 w 513187"/>
                <a:gd name="connsiteY66" fmla="*/ 200061 h 762093"/>
                <a:gd name="connsiteX67" fmla="*/ 55988 w 513187"/>
                <a:gd name="connsiteY67" fmla="*/ 171486 h 762093"/>
                <a:gd name="connsiteX68" fmla="*/ 75038 w 513187"/>
                <a:gd name="connsiteY68" fmla="*/ 171486 h 762093"/>
                <a:gd name="connsiteX69" fmla="*/ 217913 w 513187"/>
                <a:gd name="connsiteY69" fmla="*/ 371511 h 762093"/>
                <a:gd name="connsiteX70" fmla="*/ 151238 w 513187"/>
                <a:gd name="connsiteY70" fmla="*/ 351814 h 762093"/>
                <a:gd name="connsiteX71" fmla="*/ 106109 w 513187"/>
                <a:gd name="connsiteY71" fmla="*/ 300379 h 762093"/>
                <a:gd name="connsiteX72" fmla="*/ 293532 w 513187"/>
                <a:gd name="connsiteY72" fmla="*/ 168257 h 762093"/>
                <a:gd name="connsiteX73" fmla="*/ 341786 w 513187"/>
                <a:gd name="connsiteY73" fmla="*/ 224045 h 762093"/>
                <a:gd name="connsiteX74" fmla="*/ 341786 w 513187"/>
                <a:gd name="connsiteY74" fmla="*/ 248639 h 762093"/>
                <a:gd name="connsiteX75" fmla="*/ 217961 w 513187"/>
                <a:gd name="connsiteY75" fmla="*/ 371511 h 762093"/>
                <a:gd name="connsiteX76" fmla="*/ 217913 w 513187"/>
                <a:gd name="connsiteY76" fmla="*/ 457236 h 762093"/>
                <a:gd name="connsiteX77" fmla="*/ 118653 w 513187"/>
                <a:gd name="connsiteY77" fmla="*/ 428661 h 762093"/>
                <a:gd name="connsiteX78" fmla="*/ 127530 w 513187"/>
                <a:gd name="connsiteY78" fmla="*/ 425023 h 762093"/>
                <a:gd name="connsiteX79" fmla="*/ 151238 w 513187"/>
                <a:gd name="connsiteY79" fmla="*/ 389799 h 762093"/>
                <a:gd name="connsiteX80" fmla="*/ 151238 w 513187"/>
                <a:gd name="connsiteY80" fmla="*/ 373921 h 762093"/>
                <a:gd name="connsiteX81" fmla="*/ 284645 w 513187"/>
                <a:gd name="connsiteY81" fmla="*/ 373921 h 762093"/>
                <a:gd name="connsiteX82" fmla="*/ 284645 w 513187"/>
                <a:gd name="connsiteY82" fmla="*/ 389799 h 762093"/>
                <a:gd name="connsiteX83" fmla="*/ 308267 w 513187"/>
                <a:gd name="connsiteY83" fmla="*/ 425042 h 762093"/>
                <a:gd name="connsiteX84" fmla="*/ 317183 w 513187"/>
                <a:gd name="connsiteY84" fmla="*/ 428700 h 762093"/>
                <a:gd name="connsiteX85" fmla="*/ 217999 w 513187"/>
                <a:gd name="connsiteY85" fmla="*/ 457236 h 762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513187" h="762093">
                  <a:moveTo>
                    <a:pt x="357216" y="445025"/>
                  </a:moveTo>
                  <a:cubicBezTo>
                    <a:pt x="398269" y="459761"/>
                    <a:pt x="437102" y="476544"/>
                    <a:pt x="469249" y="502833"/>
                  </a:cubicBezTo>
                  <a:cubicBezTo>
                    <a:pt x="484582" y="514807"/>
                    <a:pt x="493720" y="533037"/>
                    <a:pt x="494138" y="552486"/>
                  </a:cubicBezTo>
                  <a:lnTo>
                    <a:pt x="494138" y="704658"/>
                  </a:lnTo>
                  <a:cubicBezTo>
                    <a:pt x="443494" y="736881"/>
                    <a:pt x="277739" y="749006"/>
                    <a:pt x="137655" y="741139"/>
                  </a:cubicBezTo>
                  <a:cubicBezTo>
                    <a:pt x="133299" y="747363"/>
                    <a:pt x="128552" y="753306"/>
                    <a:pt x="123444" y="758931"/>
                  </a:cubicBezTo>
                  <a:cubicBezTo>
                    <a:pt x="155038" y="761017"/>
                    <a:pt x="188043" y="762094"/>
                    <a:pt x="221018" y="762094"/>
                  </a:cubicBezTo>
                  <a:cubicBezTo>
                    <a:pt x="345796" y="762094"/>
                    <a:pt x="469563" y="747139"/>
                    <a:pt x="509368" y="717269"/>
                  </a:cubicBezTo>
                  <a:lnTo>
                    <a:pt x="513188" y="714411"/>
                  </a:lnTo>
                  <a:lnTo>
                    <a:pt x="513188" y="552286"/>
                  </a:lnTo>
                  <a:cubicBezTo>
                    <a:pt x="512712" y="527115"/>
                    <a:pt x="500934" y="503494"/>
                    <a:pt x="481117" y="487964"/>
                  </a:cubicBezTo>
                  <a:cubicBezTo>
                    <a:pt x="446589" y="459713"/>
                    <a:pt x="405565" y="442111"/>
                    <a:pt x="362417" y="426680"/>
                  </a:cubicBezTo>
                  <a:lnTo>
                    <a:pt x="315497" y="407430"/>
                  </a:lnTo>
                  <a:cubicBezTo>
                    <a:pt x="308348" y="404494"/>
                    <a:pt x="303682" y="397528"/>
                    <a:pt x="303686" y="389799"/>
                  </a:cubicBezTo>
                  <a:lnTo>
                    <a:pt x="303686" y="361729"/>
                  </a:lnTo>
                  <a:cubicBezTo>
                    <a:pt x="323379" y="346955"/>
                    <a:pt x="338940" y="327363"/>
                    <a:pt x="348872" y="304836"/>
                  </a:cubicBezTo>
                  <a:lnTo>
                    <a:pt x="379886" y="304836"/>
                  </a:lnTo>
                  <a:cubicBezTo>
                    <a:pt x="406176" y="304805"/>
                    <a:pt x="427479" y="283501"/>
                    <a:pt x="427511" y="257211"/>
                  </a:cubicBezTo>
                  <a:lnTo>
                    <a:pt x="427511" y="200061"/>
                  </a:lnTo>
                  <a:cubicBezTo>
                    <a:pt x="427479" y="173772"/>
                    <a:pt x="406176" y="152468"/>
                    <a:pt x="379886" y="152436"/>
                  </a:cubicBezTo>
                  <a:lnTo>
                    <a:pt x="379390" y="152436"/>
                  </a:lnTo>
                  <a:cubicBezTo>
                    <a:pt x="374263" y="63271"/>
                    <a:pt x="297824" y="-4856"/>
                    <a:pt x="208658" y="271"/>
                  </a:cubicBezTo>
                  <a:cubicBezTo>
                    <a:pt x="126652" y="4987"/>
                    <a:pt x="61209" y="70431"/>
                    <a:pt x="56493" y="152436"/>
                  </a:cubicBezTo>
                  <a:lnTo>
                    <a:pt x="56026" y="152436"/>
                  </a:lnTo>
                  <a:cubicBezTo>
                    <a:pt x="29736" y="152468"/>
                    <a:pt x="8432" y="173772"/>
                    <a:pt x="8401" y="200061"/>
                  </a:cubicBezTo>
                  <a:lnTo>
                    <a:pt x="8401" y="257211"/>
                  </a:lnTo>
                  <a:cubicBezTo>
                    <a:pt x="8432" y="283501"/>
                    <a:pt x="29736" y="304805"/>
                    <a:pt x="56026" y="304836"/>
                  </a:cubicBezTo>
                  <a:lnTo>
                    <a:pt x="87135" y="304836"/>
                  </a:lnTo>
                  <a:cubicBezTo>
                    <a:pt x="97041" y="327323"/>
                    <a:pt x="112554" y="346889"/>
                    <a:pt x="132188" y="361663"/>
                  </a:cubicBezTo>
                  <a:lnTo>
                    <a:pt x="132188" y="389799"/>
                  </a:lnTo>
                  <a:cubicBezTo>
                    <a:pt x="132206" y="397536"/>
                    <a:pt x="127530" y="404509"/>
                    <a:pt x="120367" y="407430"/>
                  </a:cubicBezTo>
                  <a:lnTo>
                    <a:pt x="73342" y="426756"/>
                  </a:lnTo>
                  <a:cubicBezTo>
                    <a:pt x="48152" y="435426"/>
                    <a:pt x="23637" y="445948"/>
                    <a:pt x="0" y="458237"/>
                  </a:cubicBezTo>
                  <a:cubicBezTo>
                    <a:pt x="11112" y="458896"/>
                    <a:pt x="22138" y="460585"/>
                    <a:pt x="32937" y="463285"/>
                  </a:cubicBezTo>
                  <a:cubicBezTo>
                    <a:pt x="53892" y="453884"/>
                    <a:pt x="75876" y="445854"/>
                    <a:pt x="98403" y="438139"/>
                  </a:cubicBezTo>
                  <a:cubicBezTo>
                    <a:pt x="169975" y="489019"/>
                    <a:pt x="265908" y="489019"/>
                    <a:pt x="337480" y="438139"/>
                  </a:cubicBezTo>
                  <a:close/>
                  <a:moveTo>
                    <a:pt x="94174" y="247686"/>
                  </a:moveTo>
                  <a:lnTo>
                    <a:pt x="94174" y="200061"/>
                  </a:lnTo>
                  <a:cubicBezTo>
                    <a:pt x="95295" y="131684"/>
                    <a:pt x="151635" y="77162"/>
                    <a:pt x="220012" y="78283"/>
                  </a:cubicBezTo>
                  <a:cubicBezTo>
                    <a:pt x="285994" y="79365"/>
                    <a:pt x="339534" y="132002"/>
                    <a:pt x="341738" y="197956"/>
                  </a:cubicBezTo>
                  <a:cubicBezTo>
                    <a:pt x="327368" y="181962"/>
                    <a:pt x="314124" y="164989"/>
                    <a:pt x="302104" y="147160"/>
                  </a:cubicBezTo>
                  <a:cubicBezTo>
                    <a:pt x="299187" y="142782"/>
                    <a:pt x="293274" y="141599"/>
                    <a:pt x="288896" y="144515"/>
                  </a:cubicBezTo>
                  <a:cubicBezTo>
                    <a:pt x="288046" y="145082"/>
                    <a:pt x="287292" y="145782"/>
                    <a:pt x="286664" y="146588"/>
                  </a:cubicBezTo>
                  <a:cubicBezTo>
                    <a:pt x="232058" y="216787"/>
                    <a:pt x="129826" y="268194"/>
                    <a:pt x="99260" y="282519"/>
                  </a:cubicBezTo>
                  <a:cubicBezTo>
                    <a:pt x="95908" y="271211"/>
                    <a:pt x="94195" y="259481"/>
                    <a:pt x="94174" y="247686"/>
                  </a:cubicBezTo>
                  <a:close/>
                  <a:moveTo>
                    <a:pt x="408499" y="200061"/>
                  </a:moveTo>
                  <a:lnTo>
                    <a:pt x="408499" y="257211"/>
                  </a:lnTo>
                  <a:cubicBezTo>
                    <a:pt x="408499" y="272993"/>
                    <a:pt x="395706" y="285786"/>
                    <a:pt x="379924" y="285786"/>
                  </a:cubicBezTo>
                  <a:lnTo>
                    <a:pt x="360874" y="285786"/>
                  </a:lnTo>
                  <a:lnTo>
                    <a:pt x="360874" y="248639"/>
                  </a:lnTo>
                  <a:cubicBezTo>
                    <a:pt x="360874" y="248334"/>
                    <a:pt x="360874" y="248029"/>
                    <a:pt x="360874" y="247686"/>
                  </a:cubicBezTo>
                  <a:lnTo>
                    <a:pt x="360874" y="200061"/>
                  </a:lnTo>
                  <a:cubicBezTo>
                    <a:pt x="360874" y="199757"/>
                    <a:pt x="360874" y="199452"/>
                    <a:pt x="360874" y="199109"/>
                  </a:cubicBezTo>
                  <a:lnTo>
                    <a:pt x="360874" y="171486"/>
                  </a:lnTo>
                  <a:lnTo>
                    <a:pt x="379924" y="171486"/>
                  </a:lnTo>
                  <a:cubicBezTo>
                    <a:pt x="395690" y="171507"/>
                    <a:pt x="408461" y="184295"/>
                    <a:pt x="408461" y="200061"/>
                  </a:cubicBezTo>
                  <a:close/>
                  <a:moveTo>
                    <a:pt x="217913" y="19086"/>
                  </a:moveTo>
                  <a:cubicBezTo>
                    <a:pt x="293060" y="19188"/>
                    <a:pt x="355298" y="77459"/>
                    <a:pt x="360340" y="152436"/>
                  </a:cubicBezTo>
                  <a:lnTo>
                    <a:pt x="352539" y="152436"/>
                  </a:lnTo>
                  <a:cubicBezTo>
                    <a:pt x="326361" y="78132"/>
                    <a:pt x="244903" y="39118"/>
                    <a:pt x="170598" y="65296"/>
                  </a:cubicBezTo>
                  <a:cubicBezTo>
                    <a:pt x="129855" y="79650"/>
                    <a:pt x="97812" y="111694"/>
                    <a:pt x="83458" y="152436"/>
                  </a:cubicBezTo>
                  <a:lnTo>
                    <a:pt x="75552" y="152436"/>
                  </a:lnTo>
                  <a:cubicBezTo>
                    <a:pt x="80598" y="77486"/>
                    <a:pt x="142793" y="19227"/>
                    <a:pt x="217913" y="19086"/>
                  </a:cubicBezTo>
                  <a:close/>
                  <a:moveTo>
                    <a:pt x="75038" y="285786"/>
                  </a:moveTo>
                  <a:lnTo>
                    <a:pt x="55988" y="285786"/>
                  </a:lnTo>
                  <a:cubicBezTo>
                    <a:pt x="40206" y="285786"/>
                    <a:pt x="27413" y="272993"/>
                    <a:pt x="27413" y="257211"/>
                  </a:cubicBezTo>
                  <a:lnTo>
                    <a:pt x="27413" y="200061"/>
                  </a:lnTo>
                  <a:cubicBezTo>
                    <a:pt x="27413" y="184279"/>
                    <a:pt x="40206" y="171486"/>
                    <a:pt x="55988" y="171486"/>
                  </a:cubicBezTo>
                  <a:lnTo>
                    <a:pt x="75038" y="171486"/>
                  </a:lnTo>
                  <a:close/>
                  <a:moveTo>
                    <a:pt x="217913" y="371511"/>
                  </a:moveTo>
                  <a:cubicBezTo>
                    <a:pt x="194257" y="371490"/>
                    <a:pt x="171108" y="364652"/>
                    <a:pt x="151238" y="351814"/>
                  </a:cubicBezTo>
                  <a:cubicBezTo>
                    <a:pt x="131689" y="339217"/>
                    <a:pt x="116056" y="321399"/>
                    <a:pt x="106109" y="300379"/>
                  </a:cubicBezTo>
                  <a:cubicBezTo>
                    <a:pt x="135217" y="286958"/>
                    <a:pt x="233696" y="238276"/>
                    <a:pt x="293532" y="168257"/>
                  </a:cubicBezTo>
                  <a:cubicBezTo>
                    <a:pt x="307434" y="188635"/>
                    <a:pt x="323623" y="207353"/>
                    <a:pt x="341786" y="224045"/>
                  </a:cubicBezTo>
                  <a:lnTo>
                    <a:pt x="341786" y="248639"/>
                  </a:lnTo>
                  <a:cubicBezTo>
                    <a:pt x="341098" y="316584"/>
                    <a:pt x="285909" y="371348"/>
                    <a:pt x="217961" y="371511"/>
                  </a:cubicBezTo>
                  <a:close/>
                  <a:moveTo>
                    <a:pt x="217913" y="457236"/>
                  </a:moveTo>
                  <a:cubicBezTo>
                    <a:pt x="182851" y="456863"/>
                    <a:pt x="148547" y="446988"/>
                    <a:pt x="118653" y="428661"/>
                  </a:cubicBezTo>
                  <a:lnTo>
                    <a:pt x="127530" y="425023"/>
                  </a:lnTo>
                  <a:cubicBezTo>
                    <a:pt x="141871" y="419209"/>
                    <a:pt x="151250" y="405275"/>
                    <a:pt x="151238" y="389799"/>
                  </a:cubicBezTo>
                  <a:lnTo>
                    <a:pt x="151238" y="373921"/>
                  </a:lnTo>
                  <a:cubicBezTo>
                    <a:pt x="192946" y="396082"/>
                    <a:pt x="242937" y="396082"/>
                    <a:pt x="284645" y="373921"/>
                  </a:cubicBezTo>
                  <a:lnTo>
                    <a:pt x="284645" y="389799"/>
                  </a:lnTo>
                  <a:cubicBezTo>
                    <a:pt x="284611" y="405260"/>
                    <a:pt x="293953" y="419198"/>
                    <a:pt x="308267" y="425042"/>
                  </a:cubicBezTo>
                  <a:lnTo>
                    <a:pt x="317183" y="428700"/>
                  </a:lnTo>
                  <a:cubicBezTo>
                    <a:pt x="287306" y="446998"/>
                    <a:pt x="253031" y="456860"/>
                    <a:pt x="217999" y="45723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86501B14-37C3-E537-85C4-39C31A9E7E01}"/>
                </a:ext>
              </a:extLst>
            </p:cNvPr>
            <p:cNvSpPr/>
            <p:nvPr/>
          </p:nvSpPr>
          <p:spPr>
            <a:xfrm>
              <a:off x="5608643" y="4238110"/>
              <a:ext cx="323430" cy="323430"/>
            </a:xfrm>
            <a:custGeom>
              <a:avLst/>
              <a:gdLst>
                <a:gd name="connsiteX0" fmla="*/ 161715 w 323430"/>
                <a:gd name="connsiteY0" fmla="*/ 0 h 323430"/>
                <a:gd name="connsiteX1" fmla="*/ 0 w 323430"/>
                <a:gd name="connsiteY1" fmla="*/ 161716 h 323430"/>
                <a:gd name="connsiteX2" fmla="*/ 161715 w 323430"/>
                <a:gd name="connsiteY2" fmla="*/ 323431 h 323430"/>
                <a:gd name="connsiteX3" fmla="*/ 323431 w 323430"/>
                <a:gd name="connsiteY3" fmla="*/ 161716 h 323430"/>
                <a:gd name="connsiteX4" fmla="*/ 323431 w 323430"/>
                <a:gd name="connsiteY4" fmla="*/ 161706 h 323430"/>
                <a:gd name="connsiteX5" fmla="*/ 161715 w 323430"/>
                <a:gd name="connsiteY5" fmla="*/ 0 h 323430"/>
                <a:gd name="connsiteX6" fmla="*/ 161715 w 323430"/>
                <a:gd name="connsiteY6" fmla="*/ 304371 h 323430"/>
                <a:gd name="connsiteX7" fmla="*/ 19050 w 323430"/>
                <a:gd name="connsiteY7" fmla="*/ 161706 h 323430"/>
                <a:gd name="connsiteX8" fmla="*/ 161715 w 323430"/>
                <a:gd name="connsiteY8" fmla="*/ 19040 h 323430"/>
                <a:gd name="connsiteX9" fmla="*/ 304381 w 323430"/>
                <a:gd name="connsiteY9" fmla="*/ 161706 h 323430"/>
                <a:gd name="connsiteX10" fmla="*/ 161715 w 323430"/>
                <a:gd name="connsiteY10" fmla="*/ 304371 h 323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3430" h="323430">
                  <a:moveTo>
                    <a:pt x="161715" y="0"/>
                  </a:moveTo>
                  <a:cubicBezTo>
                    <a:pt x="72402" y="0"/>
                    <a:pt x="0" y="72402"/>
                    <a:pt x="0" y="161716"/>
                  </a:cubicBezTo>
                  <a:cubicBezTo>
                    <a:pt x="0" y="251029"/>
                    <a:pt x="72402" y="323431"/>
                    <a:pt x="161715" y="323431"/>
                  </a:cubicBezTo>
                  <a:cubicBezTo>
                    <a:pt x="251029" y="323431"/>
                    <a:pt x="323431" y="251029"/>
                    <a:pt x="323431" y="161716"/>
                  </a:cubicBezTo>
                  <a:cubicBezTo>
                    <a:pt x="323431" y="161713"/>
                    <a:pt x="323431" y="161709"/>
                    <a:pt x="323431" y="161706"/>
                  </a:cubicBezTo>
                  <a:cubicBezTo>
                    <a:pt x="323310" y="72444"/>
                    <a:pt x="250977" y="115"/>
                    <a:pt x="161715" y="0"/>
                  </a:cubicBezTo>
                  <a:close/>
                  <a:moveTo>
                    <a:pt x="161715" y="304371"/>
                  </a:moveTo>
                  <a:cubicBezTo>
                    <a:pt x="82924" y="304371"/>
                    <a:pt x="19050" y="240498"/>
                    <a:pt x="19050" y="161706"/>
                  </a:cubicBezTo>
                  <a:cubicBezTo>
                    <a:pt x="19050" y="82914"/>
                    <a:pt x="82924" y="19040"/>
                    <a:pt x="161715" y="19040"/>
                  </a:cubicBezTo>
                  <a:cubicBezTo>
                    <a:pt x="240507" y="19040"/>
                    <a:pt x="304381" y="82914"/>
                    <a:pt x="304381" y="161706"/>
                  </a:cubicBezTo>
                  <a:cubicBezTo>
                    <a:pt x="304291" y="240461"/>
                    <a:pt x="240470" y="304282"/>
                    <a:pt x="161715" y="304371"/>
                  </a:cubicBezTo>
                  <a:close/>
                </a:path>
              </a:pathLst>
            </a:custGeom>
            <a:solidFill>
              <a:srgbClr val="1DB9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5" name="Freeform: Shape 1094">
              <a:extLst>
                <a:ext uri="{FF2B5EF4-FFF2-40B4-BE49-F238E27FC236}">
                  <a16:creationId xmlns:a16="http://schemas.microsoft.com/office/drawing/2014/main" id="{FE2ED419-198E-86E1-38BC-4B4D31DBA041}"/>
                </a:ext>
              </a:extLst>
            </p:cNvPr>
            <p:cNvSpPr/>
            <p:nvPr/>
          </p:nvSpPr>
          <p:spPr>
            <a:xfrm>
              <a:off x="5646715" y="4276210"/>
              <a:ext cx="123644" cy="123605"/>
            </a:xfrm>
            <a:custGeom>
              <a:avLst/>
              <a:gdLst>
                <a:gd name="connsiteX0" fmla="*/ 123644 w 123644"/>
                <a:gd name="connsiteY0" fmla="*/ 19050 h 123605"/>
                <a:gd name="connsiteX1" fmla="*/ 123644 w 123644"/>
                <a:gd name="connsiteY1" fmla="*/ 0 h 123605"/>
                <a:gd name="connsiteX2" fmla="*/ 0 w 123644"/>
                <a:gd name="connsiteY2" fmla="*/ 123606 h 123605"/>
                <a:gd name="connsiteX3" fmla="*/ 19050 w 123644"/>
                <a:gd name="connsiteY3" fmla="*/ 123606 h 123605"/>
                <a:gd name="connsiteX4" fmla="*/ 123644 w 123644"/>
                <a:gd name="connsiteY4" fmla="*/ 19050 h 12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644" h="123605">
                  <a:moveTo>
                    <a:pt x="123644" y="19050"/>
                  </a:moveTo>
                  <a:lnTo>
                    <a:pt x="123644" y="0"/>
                  </a:lnTo>
                  <a:cubicBezTo>
                    <a:pt x="55396" y="58"/>
                    <a:pt x="79" y="55358"/>
                    <a:pt x="0" y="123606"/>
                  </a:cubicBezTo>
                  <a:lnTo>
                    <a:pt x="19050" y="123606"/>
                  </a:lnTo>
                  <a:cubicBezTo>
                    <a:pt x="19119" y="65875"/>
                    <a:pt x="65913" y="19098"/>
                    <a:pt x="123644" y="19050"/>
                  </a:cubicBezTo>
                  <a:close/>
                </a:path>
              </a:pathLst>
            </a:custGeom>
            <a:solidFill>
              <a:srgbClr val="1DB9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34C96E2-94A2-D2E0-D9CE-6846E75179FE}"/>
                </a:ext>
              </a:extLst>
            </p:cNvPr>
            <p:cNvSpPr/>
            <p:nvPr/>
          </p:nvSpPr>
          <p:spPr>
            <a:xfrm>
              <a:off x="5770359" y="4399816"/>
              <a:ext cx="123615" cy="123615"/>
            </a:xfrm>
            <a:custGeom>
              <a:avLst/>
              <a:gdLst>
                <a:gd name="connsiteX0" fmla="*/ 104565 w 123615"/>
                <a:gd name="connsiteY0" fmla="*/ 0 h 123615"/>
                <a:gd name="connsiteX1" fmla="*/ 0 w 123615"/>
                <a:gd name="connsiteY1" fmla="*/ 104565 h 123615"/>
                <a:gd name="connsiteX2" fmla="*/ 0 w 123615"/>
                <a:gd name="connsiteY2" fmla="*/ 123615 h 123615"/>
                <a:gd name="connsiteX3" fmla="*/ 123615 w 123615"/>
                <a:gd name="connsiteY3" fmla="*/ 0 h 12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615" h="123615">
                  <a:moveTo>
                    <a:pt x="104565" y="0"/>
                  </a:moveTo>
                  <a:cubicBezTo>
                    <a:pt x="104503" y="57723"/>
                    <a:pt x="57723" y="104503"/>
                    <a:pt x="0" y="104565"/>
                  </a:cubicBezTo>
                  <a:lnTo>
                    <a:pt x="0" y="123615"/>
                  </a:lnTo>
                  <a:cubicBezTo>
                    <a:pt x="68241" y="123542"/>
                    <a:pt x="123542" y="68241"/>
                    <a:pt x="123615" y="0"/>
                  </a:cubicBezTo>
                  <a:close/>
                </a:path>
              </a:pathLst>
            </a:custGeom>
            <a:solidFill>
              <a:srgbClr val="1DB9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7" name="Freeform: Shape 1096">
              <a:extLst>
                <a:ext uri="{FF2B5EF4-FFF2-40B4-BE49-F238E27FC236}">
                  <a16:creationId xmlns:a16="http://schemas.microsoft.com/office/drawing/2014/main" id="{C512DFDE-28C3-5A35-0A78-7FEE1E50DC7C}"/>
                </a:ext>
              </a:extLst>
            </p:cNvPr>
            <p:cNvSpPr/>
            <p:nvPr/>
          </p:nvSpPr>
          <p:spPr>
            <a:xfrm>
              <a:off x="5684815" y="4314310"/>
              <a:ext cx="85544" cy="85505"/>
            </a:xfrm>
            <a:custGeom>
              <a:avLst/>
              <a:gdLst>
                <a:gd name="connsiteX0" fmla="*/ 85544 w 85544"/>
                <a:gd name="connsiteY0" fmla="*/ 19050 h 85505"/>
                <a:gd name="connsiteX1" fmla="*/ 85544 w 85544"/>
                <a:gd name="connsiteY1" fmla="*/ 0 h 85505"/>
                <a:gd name="connsiteX2" fmla="*/ 0 w 85544"/>
                <a:gd name="connsiteY2" fmla="*/ 85506 h 85505"/>
                <a:gd name="connsiteX3" fmla="*/ 19050 w 85544"/>
                <a:gd name="connsiteY3" fmla="*/ 85506 h 85505"/>
                <a:gd name="connsiteX4" fmla="*/ 85544 w 85544"/>
                <a:gd name="connsiteY4" fmla="*/ 19050 h 85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544" h="85505">
                  <a:moveTo>
                    <a:pt x="85544" y="19050"/>
                  </a:moveTo>
                  <a:lnTo>
                    <a:pt x="85544" y="0"/>
                  </a:lnTo>
                  <a:cubicBezTo>
                    <a:pt x="38328" y="31"/>
                    <a:pt x="52" y="38290"/>
                    <a:pt x="0" y="85506"/>
                  </a:cubicBezTo>
                  <a:lnTo>
                    <a:pt x="19050" y="85506"/>
                  </a:lnTo>
                  <a:cubicBezTo>
                    <a:pt x="19092" y="48806"/>
                    <a:pt x="48844" y="19071"/>
                    <a:pt x="85544" y="19050"/>
                  </a:cubicBezTo>
                  <a:close/>
                </a:path>
              </a:pathLst>
            </a:custGeom>
            <a:solidFill>
              <a:srgbClr val="1DB9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2EAFAE62-D963-D3DB-FA59-877073D001FB}"/>
                </a:ext>
              </a:extLst>
            </p:cNvPr>
            <p:cNvSpPr/>
            <p:nvPr/>
          </p:nvSpPr>
          <p:spPr>
            <a:xfrm>
              <a:off x="5770359" y="4399816"/>
              <a:ext cx="85515" cy="85515"/>
            </a:xfrm>
            <a:custGeom>
              <a:avLst/>
              <a:gdLst>
                <a:gd name="connsiteX0" fmla="*/ 0 w 85515"/>
                <a:gd name="connsiteY0" fmla="*/ 66465 h 85515"/>
                <a:gd name="connsiteX1" fmla="*/ 0 w 85515"/>
                <a:gd name="connsiteY1" fmla="*/ 85515 h 85515"/>
                <a:gd name="connsiteX2" fmla="*/ 85515 w 85515"/>
                <a:gd name="connsiteY2" fmla="*/ 0 h 85515"/>
                <a:gd name="connsiteX3" fmla="*/ 66465 w 85515"/>
                <a:gd name="connsiteY3" fmla="*/ 0 h 85515"/>
                <a:gd name="connsiteX4" fmla="*/ 0 w 85515"/>
                <a:gd name="connsiteY4" fmla="*/ 66465 h 85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515" h="85515">
                  <a:moveTo>
                    <a:pt x="0" y="66465"/>
                  </a:moveTo>
                  <a:lnTo>
                    <a:pt x="0" y="85515"/>
                  </a:lnTo>
                  <a:cubicBezTo>
                    <a:pt x="47207" y="85463"/>
                    <a:pt x="85463" y="47207"/>
                    <a:pt x="85515" y="0"/>
                  </a:cubicBezTo>
                  <a:lnTo>
                    <a:pt x="66465" y="0"/>
                  </a:lnTo>
                  <a:cubicBezTo>
                    <a:pt x="66428" y="36692"/>
                    <a:pt x="36692" y="66428"/>
                    <a:pt x="0" y="66465"/>
                  </a:cubicBezTo>
                  <a:close/>
                </a:path>
              </a:pathLst>
            </a:custGeom>
            <a:solidFill>
              <a:srgbClr val="1DB9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2C71B4CC-3158-DA9C-6D4C-63485AB87770}"/>
                </a:ext>
              </a:extLst>
            </p:cNvPr>
            <p:cNvSpPr/>
            <p:nvPr/>
          </p:nvSpPr>
          <p:spPr>
            <a:xfrm>
              <a:off x="5722943" y="4352401"/>
              <a:ext cx="94830" cy="94830"/>
            </a:xfrm>
            <a:custGeom>
              <a:avLst/>
              <a:gdLst>
                <a:gd name="connsiteX0" fmla="*/ 94831 w 94830"/>
                <a:gd name="connsiteY0" fmla="*/ 47415 h 94830"/>
                <a:gd name="connsiteX1" fmla="*/ 47415 w 94830"/>
                <a:gd name="connsiteY1" fmla="*/ 0 h 94830"/>
                <a:gd name="connsiteX2" fmla="*/ 0 w 94830"/>
                <a:gd name="connsiteY2" fmla="*/ 47415 h 94830"/>
                <a:gd name="connsiteX3" fmla="*/ 47415 w 94830"/>
                <a:gd name="connsiteY3" fmla="*/ 94831 h 94830"/>
                <a:gd name="connsiteX4" fmla="*/ 94831 w 94830"/>
                <a:gd name="connsiteY4" fmla="*/ 47415 h 94830"/>
                <a:gd name="connsiteX5" fmla="*/ 19060 w 94830"/>
                <a:gd name="connsiteY5" fmla="*/ 47415 h 94830"/>
                <a:gd name="connsiteX6" fmla="*/ 47425 w 94830"/>
                <a:gd name="connsiteY6" fmla="*/ 19050 h 94830"/>
                <a:gd name="connsiteX7" fmla="*/ 75790 w 94830"/>
                <a:gd name="connsiteY7" fmla="*/ 47415 h 94830"/>
                <a:gd name="connsiteX8" fmla="*/ 47425 w 94830"/>
                <a:gd name="connsiteY8" fmla="*/ 75781 h 94830"/>
                <a:gd name="connsiteX9" fmla="*/ 47415 w 94830"/>
                <a:gd name="connsiteY9" fmla="*/ 75781 h 94830"/>
                <a:gd name="connsiteX10" fmla="*/ 19021 w 94830"/>
                <a:gd name="connsiteY10" fmla="*/ 47415 h 94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830" h="94830">
                  <a:moveTo>
                    <a:pt x="94831" y="47415"/>
                  </a:moveTo>
                  <a:cubicBezTo>
                    <a:pt x="94831" y="21228"/>
                    <a:pt x="73603" y="0"/>
                    <a:pt x="47415" y="0"/>
                  </a:cubicBezTo>
                  <a:cubicBezTo>
                    <a:pt x="21228" y="0"/>
                    <a:pt x="0" y="21228"/>
                    <a:pt x="0" y="47415"/>
                  </a:cubicBezTo>
                  <a:cubicBezTo>
                    <a:pt x="0" y="73603"/>
                    <a:pt x="21228" y="94831"/>
                    <a:pt x="47415" y="94831"/>
                  </a:cubicBezTo>
                  <a:cubicBezTo>
                    <a:pt x="73591" y="94804"/>
                    <a:pt x="94804" y="73591"/>
                    <a:pt x="94831" y="47415"/>
                  </a:cubicBezTo>
                  <a:close/>
                  <a:moveTo>
                    <a:pt x="19060" y="47415"/>
                  </a:moveTo>
                  <a:cubicBezTo>
                    <a:pt x="19060" y="31750"/>
                    <a:pt x="31759" y="19050"/>
                    <a:pt x="47425" y="19050"/>
                  </a:cubicBezTo>
                  <a:cubicBezTo>
                    <a:pt x="63091" y="19050"/>
                    <a:pt x="75790" y="31750"/>
                    <a:pt x="75790" y="47415"/>
                  </a:cubicBezTo>
                  <a:cubicBezTo>
                    <a:pt x="75790" y="63081"/>
                    <a:pt x="63091" y="75781"/>
                    <a:pt x="47425" y="75781"/>
                  </a:cubicBezTo>
                  <a:cubicBezTo>
                    <a:pt x="47422" y="75781"/>
                    <a:pt x="47418" y="75781"/>
                    <a:pt x="47415" y="75781"/>
                  </a:cubicBezTo>
                  <a:cubicBezTo>
                    <a:pt x="31745" y="75781"/>
                    <a:pt x="19038" y="63086"/>
                    <a:pt x="19021" y="47415"/>
                  </a:cubicBezTo>
                  <a:close/>
                </a:path>
              </a:pathLst>
            </a:custGeom>
            <a:solidFill>
              <a:srgbClr val="1DB9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61F8CD14-42E4-2606-42DC-F1DB5A22A7A1}"/>
                </a:ext>
              </a:extLst>
            </p:cNvPr>
            <p:cNvSpPr/>
            <p:nvPr/>
          </p:nvSpPr>
          <p:spPr>
            <a:xfrm>
              <a:off x="5760624" y="4390082"/>
              <a:ext cx="19050" cy="19050"/>
            </a:xfrm>
            <a:custGeom>
              <a:avLst/>
              <a:gdLst>
                <a:gd name="connsiteX0" fmla="*/ 19050 w 19050"/>
                <a:gd name="connsiteY0" fmla="*/ 9525 h 19050"/>
                <a:gd name="connsiteX1" fmla="*/ 9525 w 19050"/>
                <a:gd name="connsiteY1" fmla="*/ 19050 h 19050"/>
                <a:gd name="connsiteX2" fmla="*/ 0 w 19050"/>
                <a:gd name="connsiteY2" fmla="*/ 9525 h 19050"/>
                <a:gd name="connsiteX3" fmla="*/ 9525 w 19050"/>
                <a:gd name="connsiteY3" fmla="*/ 0 h 19050"/>
                <a:gd name="connsiteX4" fmla="*/ 19050 w 19050"/>
                <a:gd name="connsiteY4" fmla="*/ 952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9050" y="9525"/>
                  </a:moveTo>
                  <a:cubicBezTo>
                    <a:pt x="19050" y="14786"/>
                    <a:pt x="14786" y="19050"/>
                    <a:pt x="9525" y="19050"/>
                  </a:cubicBezTo>
                  <a:cubicBezTo>
                    <a:pt x="4264" y="19050"/>
                    <a:pt x="0" y="14786"/>
                    <a:pt x="0" y="9525"/>
                  </a:cubicBezTo>
                  <a:cubicBezTo>
                    <a:pt x="0" y="4264"/>
                    <a:pt x="4264" y="0"/>
                    <a:pt x="9525" y="0"/>
                  </a:cubicBezTo>
                  <a:cubicBezTo>
                    <a:pt x="14786" y="0"/>
                    <a:pt x="19050" y="4264"/>
                    <a:pt x="19050" y="9525"/>
                  </a:cubicBezTo>
                  <a:close/>
                </a:path>
              </a:pathLst>
            </a:custGeom>
            <a:solidFill>
              <a:srgbClr val="1DB9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29" name="Group 1128">
            <a:extLst>
              <a:ext uri="{FF2B5EF4-FFF2-40B4-BE49-F238E27FC236}">
                <a16:creationId xmlns:a16="http://schemas.microsoft.com/office/drawing/2014/main" id="{93AF8159-E359-E258-9AB4-CCC56269B139}"/>
              </a:ext>
            </a:extLst>
          </p:cNvPr>
          <p:cNvGrpSpPr/>
          <p:nvPr/>
        </p:nvGrpSpPr>
        <p:grpSpPr>
          <a:xfrm>
            <a:off x="175404" y="4003744"/>
            <a:ext cx="416305" cy="404230"/>
            <a:chOff x="6687497" y="2852279"/>
            <a:chExt cx="685800" cy="628650"/>
          </a:xfrm>
        </p:grpSpPr>
        <p:sp>
          <p:nvSpPr>
            <p:cNvPr id="1127" name="Freeform: Shape 1126" descr="Headphones outline">
              <a:extLst>
                <a:ext uri="{FF2B5EF4-FFF2-40B4-BE49-F238E27FC236}">
                  <a16:creationId xmlns:a16="http://schemas.microsoft.com/office/drawing/2014/main" id="{0FE8F48A-84FE-312F-672E-190E243DC910}"/>
                </a:ext>
              </a:extLst>
            </p:cNvPr>
            <p:cNvSpPr/>
            <p:nvPr/>
          </p:nvSpPr>
          <p:spPr>
            <a:xfrm>
              <a:off x="6687497" y="2852279"/>
              <a:ext cx="685800" cy="533400"/>
            </a:xfrm>
            <a:custGeom>
              <a:avLst/>
              <a:gdLst>
                <a:gd name="connsiteX0" fmla="*/ 342900 w 685800"/>
                <a:gd name="connsiteY0" fmla="*/ 0 h 533400"/>
                <a:gd name="connsiteX1" fmla="*/ 685800 w 685800"/>
                <a:gd name="connsiteY1" fmla="*/ 342900 h 533400"/>
                <a:gd name="connsiteX2" fmla="*/ 685800 w 685800"/>
                <a:gd name="connsiteY2" fmla="*/ 523875 h 533400"/>
                <a:gd name="connsiteX3" fmla="*/ 676275 w 685800"/>
                <a:gd name="connsiteY3" fmla="*/ 533400 h 533400"/>
                <a:gd name="connsiteX4" fmla="*/ 666750 w 685800"/>
                <a:gd name="connsiteY4" fmla="*/ 523875 h 533400"/>
                <a:gd name="connsiteX5" fmla="*/ 666750 w 685800"/>
                <a:gd name="connsiteY5" fmla="*/ 495300 h 533400"/>
                <a:gd name="connsiteX6" fmla="*/ 610874 w 685800"/>
                <a:gd name="connsiteY6" fmla="*/ 495300 h 533400"/>
                <a:gd name="connsiteX7" fmla="*/ 610874 w 685800"/>
                <a:gd name="connsiteY7" fmla="*/ 476250 h 533400"/>
                <a:gd name="connsiteX8" fmla="*/ 666750 w 685800"/>
                <a:gd name="connsiteY8" fmla="*/ 476250 h 533400"/>
                <a:gd name="connsiteX9" fmla="*/ 666750 w 685800"/>
                <a:gd name="connsiteY9" fmla="*/ 342900 h 533400"/>
                <a:gd name="connsiteX10" fmla="*/ 342900 w 685800"/>
                <a:gd name="connsiteY10" fmla="*/ 19050 h 533400"/>
                <a:gd name="connsiteX11" fmla="*/ 19050 w 685800"/>
                <a:gd name="connsiteY11" fmla="*/ 342900 h 533400"/>
                <a:gd name="connsiteX12" fmla="*/ 19050 w 685800"/>
                <a:gd name="connsiteY12" fmla="*/ 476250 h 533400"/>
                <a:gd name="connsiteX13" fmla="*/ 72331 w 685800"/>
                <a:gd name="connsiteY13" fmla="*/ 476250 h 533400"/>
                <a:gd name="connsiteX14" fmla="*/ 72331 w 685800"/>
                <a:gd name="connsiteY14" fmla="*/ 495300 h 533400"/>
                <a:gd name="connsiteX15" fmla="*/ 19050 w 685800"/>
                <a:gd name="connsiteY15" fmla="*/ 495300 h 533400"/>
                <a:gd name="connsiteX16" fmla="*/ 19050 w 685800"/>
                <a:gd name="connsiteY16" fmla="*/ 523875 h 533400"/>
                <a:gd name="connsiteX17" fmla="*/ 9525 w 685800"/>
                <a:gd name="connsiteY17" fmla="*/ 533400 h 533400"/>
                <a:gd name="connsiteX18" fmla="*/ 0 w 685800"/>
                <a:gd name="connsiteY18" fmla="*/ 523875 h 533400"/>
                <a:gd name="connsiteX19" fmla="*/ 0 w 685800"/>
                <a:gd name="connsiteY19" fmla="*/ 342900 h 533400"/>
                <a:gd name="connsiteX20" fmla="*/ 342900 w 685800"/>
                <a:gd name="connsiteY20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533400">
                  <a:moveTo>
                    <a:pt x="342900" y="0"/>
                  </a:moveTo>
                  <a:cubicBezTo>
                    <a:pt x="532191" y="210"/>
                    <a:pt x="685590" y="153609"/>
                    <a:pt x="685800" y="342900"/>
                  </a:cubicBezTo>
                  <a:lnTo>
                    <a:pt x="685800" y="523875"/>
                  </a:lnTo>
                  <a:cubicBezTo>
                    <a:pt x="685800" y="529136"/>
                    <a:pt x="681536" y="533400"/>
                    <a:pt x="676275" y="533400"/>
                  </a:cubicBezTo>
                  <a:cubicBezTo>
                    <a:pt x="671014" y="533400"/>
                    <a:pt x="666750" y="529136"/>
                    <a:pt x="666750" y="523875"/>
                  </a:cubicBezTo>
                  <a:lnTo>
                    <a:pt x="666750" y="495300"/>
                  </a:lnTo>
                  <a:lnTo>
                    <a:pt x="610874" y="495300"/>
                  </a:lnTo>
                  <a:lnTo>
                    <a:pt x="610874" y="476250"/>
                  </a:lnTo>
                  <a:lnTo>
                    <a:pt x="666750" y="476250"/>
                  </a:lnTo>
                  <a:lnTo>
                    <a:pt x="666750" y="342900"/>
                  </a:lnTo>
                  <a:cubicBezTo>
                    <a:pt x="666750" y="164042"/>
                    <a:pt x="521758" y="19050"/>
                    <a:pt x="342900" y="19050"/>
                  </a:cubicBezTo>
                  <a:cubicBezTo>
                    <a:pt x="164042" y="19050"/>
                    <a:pt x="19050" y="164042"/>
                    <a:pt x="19050" y="342900"/>
                  </a:cubicBezTo>
                  <a:lnTo>
                    <a:pt x="19050" y="476250"/>
                  </a:lnTo>
                  <a:lnTo>
                    <a:pt x="72331" y="476250"/>
                  </a:lnTo>
                  <a:lnTo>
                    <a:pt x="72331" y="495300"/>
                  </a:lnTo>
                  <a:lnTo>
                    <a:pt x="19050" y="495300"/>
                  </a:lnTo>
                  <a:lnTo>
                    <a:pt x="19050" y="523875"/>
                  </a:lnTo>
                  <a:cubicBezTo>
                    <a:pt x="19050" y="529136"/>
                    <a:pt x="14786" y="533400"/>
                    <a:pt x="9525" y="533400"/>
                  </a:cubicBezTo>
                  <a:cubicBezTo>
                    <a:pt x="4264" y="533400"/>
                    <a:pt x="0" y="529136"/>
                    <a:pt x="0" y="523875"/>
                  </a:cubicBezTo>
                  <a:lnTo>
                    <a:pt x="0" y="342900"/>
                  </a:lnTo>
                  <a:cubicBezTo>
                    <a:pt x="210" y="153609"/>
                    <a:pt x="153609" y="210"/>
                    <a:pt x="342900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FE8632D5-5CD3-C06A-AD56-52B86E4368D9}"/>
                </a:ext>
              </a:extLst>
            </p:cNvPr>
            <p:cNvSpPr/>
            <p:nvPr/>
          </p:nvSpPr>
          <p:spPr>
            <a:xfrm>
              <a:off x="6761125" y="3195179"/>
              <a:ext cx="538543" cy="285750"/>
            </a:xfrm>
            <a:custGeom>
              <a:avLst/>
              <a:gdLst>
                <a:gd name="connsiteX0" fmla="*/ 442019 w 538543"/>
                <a:gd name="connsiteY0" fmla="*/ 19050 h 285750"/>
                <a:gd name="connsiteX1" fmla="*/ 422969 w 538543"/>
                <a:gd name="connsiteY1" fmla="*/ 38100 h 285750"/>
                <a:gd name="connsiteX2" fmla="*/ 422969 w 538543"/>
                <a:gd name="connsiteY2" fmla="*/ 247650 h 285750"/>
                <a:gd name="connsiteX3" fmla="*/ 442019 w 538543"/>
                <a:gd name="connsiteY3" fmla="*/ 266700 h 285750"/>
                <a:gd name="connsiteX4" fmla="*/ 499169 w 538543"/>
                <a:gd name="connsiteY4" fmla="*/ 266700 h 285750"/>
                <a:gd name="connsiteX5" fmla="*/ 518219 w 538543"/>
                <a:gd name="connsiteY5" fmla="*/ 247650 h 285750"/>
                <a:gd name="connsiteX6" fmla="*/ 518219 w 538543"/>
                <a:gd name="connsiteY6" fmla="*/ 38100 h 285750"/>
                <a:gd name="connsiteX7" fmla="*/ 499169 w 538543"/>
                <a:gd name="connsiteY7" fmla="*/ 19050 h 285750"/>
                <a:gd name="connsiteX8" fmla="*/ 41969 w 538543"/>
                <a:gd name="connsiteY8" fmla="*/ 19050 h 285750"/>
                <a:gd name="connsiteX9" fmla="*/ 22919 w 538543"/>
                <a:gd name="connsiteY9" fmla="*/ 38100 h 285750"/>
                <a:gd name="connsiteX10" fmla="*/ 22919 w 538543"/>
                <a:gd name="connsiteY10" fmla="*/ 247650 h 285750"/>
                <a:gd name="connsiteX11" fmla="*/ 41969 w 538543"/>
                <a:gd name="connsiteY11" fmla="*/ 266700 h 285750"/>
                <a:gd name="connsiteX12" fmla="*/ 99119 w 538543"/>
                <a:gd name="connsiteY12" fmla="*/ 266700 h 285750"/>
                <a:gd name="connsiteX13" fmla="*/ 118169 w 538543"/>
                <a:gd name="connsiteY13" fmla="*/ 247650 h 285750"/>
                <a:gd name="connsiteX14" fmla="*/ 118169 w 538543"/>
                <a:gd name="connsiteY14" fmla="*/ 38100 h 285750"/>
                <a:gd name="connsiteX15" fmla="*/ 99119 w 538543"/>
                <a:gd name="connsiteY15" fmla="*/ 19050 h 285750"/>
                <a:gd name="connsiteX16" fmla="*/ 442019 w 538543"/>
                <a:gd name="connsiteY16" fmla="*/ 0 h 285750"/>
                <a:gd name="connsiteX17" fmla="*/ 499169 w 538543"/>
                <a:gd name="connsiteY17" fmla="*/ 0 h 285750"/>
                <a:gd name="connsiteX18" fmla="*/ 537269 w 538543"/>
                <a:gd name="connsiteY18" fmla="*/ 38100 h 285750"/>
                <a:gd name="connsiteX19" fmla="*/ 537269 w 538543"/>
                <a:gd name="connsiteY19" fmla="*/ 133350 h 285750"/>
                <a:gd name="connsiteX20" fmla="*/ 538543 w 538543"/>
                <a:gd name="connsiteY20" fmla="*/ 133350 h 285750"/>
                <a:gd name="connsiteX21" fmla="*/ 538543 w 538543"/>
                <a:gd name="connsiteY21" fmla="*/ 152400 h 285750"/>
                <a:gd name="connsiteX22" fmla="*/ 537269 w 538543"/>
                <a:gd name="connsiteY22" fmla="*/ 152400 h 285750"/>
                <a:gd name="connsiteX23" fmla="*/ 537269 w 538543"/>
                <a:gd name="connsiteY23" fmla="*/ 247650 h 285750"/>
                <a:gd name="connsiteX24" fmla="*/ 499169 w 538543"/>
                <a:gd name="connsiteY24" fmla="*/ 285750 h 285750"/>
                <a:gd name="connsiteX25" fmla="*/ 442019 w 538543"/>
                <a:gd name="connsiteY25" fmla="*/ 285750 h 285750"/>
                <a:gd name="connsiteX26" fmla="*/ 403919 w 538543"/>
                <a:gd name="connsiteY26" fmla="*/ 247650 h 285750"/>
                <a:gd name="connsiteX27" fmla="*/ 403919 w 538543"/>
                <a:gd name="connsiteY27" fmla="*/ 38100 h 285750"/>
                <a:gd name="connsiteX28" fmla="*/ 442019 w 538543"/>
                <a:gd name="connsiteY28" fmla="*/ 0 h 285750"/>
                <a:gd name="connsiteX29" fmla="*/ 41969 w 538543"/>
                <a:gd name="connsiteY29" fmla="*/ 0 h 285750"/>
                <a:gd name="connsiteX30" fmla="*/ 99119 w 538543"/>
                <a:gd name="connsiteY30" fmla="*/ 0 h 285750"/>
                <a:gd name="connsiteX31" fmla="*/ 137219 w 538543"/>
                <a:gd name="connsiteY31" fmla="*/ 38100 h 285750"/>
                <a:gd name="connsiteX32" fmla="*/ 137219 w 538543"/>
                <a:gd name="connsiteY32" fmla="*/ 247650 h 285750"/>
                <a:gd name="connsiteX33" fmla="*/ 99119 w 538543"/>
                <a:gd name="connsiteY33" fmla="*/ 285750 h 285750"/>
                <a:gd name="connsiteX34" fmla="*/ 41969 w 538543"/>
                <a:gd name="connsiteY34" fmla="*/ 285750 h 285750"/>
                <a:gd name="connsiteX35" fmla="*/ 3869 w 538543"/>
                <a:gd name="connsiteY35" fmla="*/ 247650 h 285750"/>
                <a:gd name="connsiteX36" fmla="*/ 3869 w 538543"/>
                <a:gd name="connsiteY36" fmla="*/ 152400 h 285750"/>
                <a:gd name="connsiteX37" fmla="*/ 0 w 538543"/>
                <a:gd name="connsiteY37" fmla="*/ 152400 h 285750"/>
                <a:gd name="connsiteX38" fmla="*/ 0 w 538543"/>
                <a:gd name="connsiteY38" fmla="*/ 133350 h 285750"/>
                <a:gd name="connsiteX39" fmla="*/ 3869 w 538543"/>
                <a:gd name="connsiteY39" fmla="*/ 133350 h 285750"/>
                <a:gd name="connsiteX40" fmla="*/ 3869 w 538543"/>
                <a:gd name="connsiteY40" fmla="*/ 38100 h 285750"/>
                <a:gd name="connsiteX41" fmla="*/ 41969 w 538543"/>
                <a:gd name="connsiteY41" fmla="*/ 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38543" h="285750">
                  <a:moveTo>
                    <a:pt x="442019" y="19050"/>
                  </a:moveTo>
                  <a:cubicBezTo>
                    <a:pt x="431498" y="19050"/>
                    <a:pt x="422969" y="27579"/>
                    <a:pt x="422969" y="38100"/>
                  </a:cubicBezTo>
                  <a:lnTo>
                    <a:pt x="422969" y="247650"/>
                  </a:lnTo>
                  <a:cubicBezTo>
                    <a:pt x="422969" y="258171"/>
                    <a:pt x="431498" y="266700"/>
                    <a:pt x="442019" y="266700"/>
                  </a:cubicBezTo>
                  <a:lnTo>
                    <a:pt x="499169" y="266700"/>
                  </a:lnTo>
                  <a:cubicBezTo>
                    <a:pt x="509690" y="266700"/>
                    <a:pt x="518219" y="258171"/>
                    <a:pt x="518219" y="247650"/>
                  </a:cubicBezTo>
                  <a:lnTo>
                    <a:pt x="518219" y="38100"/>
                  </a:lnTo>
                  <a:cubicBezTo>
                    <a:pt x="518219" y="27579"/>
                    <a:pt x="509690" y="19050"/>
                    <a:pt x="499169" y="19050"/>
                  </a:cubicBezTo>
                  <a:close/>
                  <a:moveTo>
                    <a:pt x="41969" y="19050"/>
                  </a:moveTo>
                  <a:cubicBezTo>
                    <a:pt x="31448" y="19050"/>
                    <a:pt x="22919" y="27579"/>
                    <a:pt x="22919" y="38100"/>
                  </a:cubicBezTo>
                  <a:lnTo>
                    <a:pt x="22919" y="247650"/>
                  </a:lnTo>
                  <a:cubicBezTo>
                    <a:pt x="22919" y="258171"/>
                    <a:pt x="31448" y="266700"/>
                    <a:pt x="41969" y="266700"/>
                  </a:cubicBezTo>
                  <a:lnTo>
                    <a:pt x="99119" y="266700"/>
                  </a:lnTo>
                  <a:cubicBezTo>
                    <a:pt x="109640" y="266700"/>
                    <a:pt x="118169" y="258171"/>
                    <a:pt x="118169" y="247650"/>
                  </a:cubicBezTo>
                  <a:lnTo>
                    <a:pt x="118169" y="38100"/>
                  </a:lnTo>
                  <a:cubicBezTo>
                    <a:pt x="118169" y="27579"/>
                    <a:pt x="109640" y="19050"/>
                    <a:pt x="99119" y="19050"/>
                  </a:cubicBezTo>
                  <a:close/>
                  <a:moveTo>
                    <a:pt x="442019" y="0"/>
                  </a:moveTo>
                  <a:lnTo>
                    <a:pt x="499169" y="0"/>
                  </a:lnTo>
                  <a:cubicBezTo>
                    <a:pt x="520211" y="0"/>
                    <a:pt x="537269" y="17058"/>
                    <a:pt x="537269" y="38100"/>
                  </a:cubicBezTo>
                  <a:lnTo>
                    <a:pt x="537269" y="133350"/>
                  </a:lnTo>
                  <a:lnTo>
                    <a:pt x="538543" y="133350"/>
                  </a:lnTo>
                  <a:lnTo>
                    <a:pt x="538543" y="152400"/>
                  </a:lnTo>
                  <a:lnTo>
                    <a:pt x="537269" y="152400"/>
                  </a:lnTo>
                  <a:lnTo>
                    <a:pt x="537269" y="247650"/>
                  </a:lnTo>
                  <a:cubicBezTo>
                    <a:pt x="537269" y="268692"/>
                    <a:pt x="520211" y="285750"/>
                    <a:pt x="499169" y="285750"/>
                  </a:cubicBezTo>
                  <a:lnTo>
                    <a:pt x="442019" y="285750"/>
                  </a:lnTo>
                  <a:cubicBezTo>
                    <a:pt x="420977" y="285750"/>
                    <a:pt x="403919" y="268692"/>
                    <a:pt x="403919" y="247650"/>
                  </a:cubicBezTo>
                  <a:lnTo>
                    <a:pt x="403919" y="38100"/>
                  </a:lnTo>
                  <a:cubicBezTo>
                    <a:pt x="403919" y="17058"/>
                    <a:pt x="420977" y="0"/>
                    <a:pt x="442019" y="0"/>
                  </a:cubicBezTo>
                  <a:close/>
                  <a:moveTo>
                    <a:pt x="41969" y="0"/>
                  </a:moveTo>
                  <a:lnTo>
                    <a:pt x="99119" y="0"/>
                  </a:lnTo>
                  <a:cubicBezTo>
                    <a:pt x="120161" y="0"/>
                    <a:pt x="137219" y="17058"/>
                    <a:pt x="137219" y="38100"/>
                  </a:cubicBezTo>
                  <a:lnTo>
                    <a:pt x="137219" y="247650"/>
                  </a:lnTo>
                  <a:cubicBezTo>
                    <a:pt x="137219" y="268692"/>
                    <a:pt x="120161" y="285750"/>
                    <a:pt x="99119" y="285750"/>
                  </a:cubicBezTo>
                  <a:lnTo>
                    <a:pt x="41969" y="285750"/>
                  </a:lnTo>
                  <a:cubicBezTo>
                    <a:pt x="20927" y="285750"/>
                    <a:pt x="3869" y="268692"/>
                    <a:pt x="3869" y="247650"/>
                  </a:cubicBezTo>
                  <a:lnTo>
                    <a:pt x="3869" y="152400"/>
                  </a:lnTo>
                  <a:lnTo>
                    <a:pt x="0" y="152400"/>
                  </a:lnTo>
                  <a:lnTo>
                    <a:pt x="0" y="133350"/>
                  </a:lnTo>
                  <a:lnTo>
                    <a:pt x="3869" y="133350"/>
                  </a:lnTo>
                  <a:lnTo>
                    <a:pt x="3869" y="38100"/>
                  </a:lnTo>
                  <a:cubicBezTo>
                    <a:pt x="3869" y="17058"/>
                    <a:pt x="20927" y="0"/>
                    <a:pt x="41969" y="0"/>
                  </a:cubicBezTo>
                  <a:close/>
                </a:path>
              </a:pathLst>
            </a:custGeom>
            <a:solidFill>
              <a:srgbClr val="1DB9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F7AA8E5-3078-88B9-4686-6346803B8975}"/>
              </a:ext>
            </a:extLst>
          </p:cNvPr>
          <p:cNvSpPr/>
          <p:nvPr/>
        </p:nvSpPr>
        <p:spPr>
          <a:xfrm>
            <a:off x="800434" y="1375227"/>
            <a:ext cx="8481741" cy="498364"/>
          </a:xfrm>
          <a:prstGeom prst="roundRect">
            <a:avLst>
              <a:gd name="adj" fmla="val 21650"/>
            </a:avLst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/>
              <a:t>Personalization</a:t>
            </a:r>
            <a:endParaRPr lang="en-ID" b="1" dirty="0"/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2134B905-6304-5034-390C-DDDD64A1FB16}"/>
              </a:ext>
            </a:extLst>
          </p:cNvPr>
          <p:cNvSpPr/>
          <p:nvPr/>
        </p:nvSpPr>
        <p:spPr>
          <a:xfrm>
            <a:off x="751699" y="2253630"/>
            <a:ext cx="8530476" cy="498364"/>
          </a:xfrm>
          <a:prstGeom prst="roundRect">
            <a:avLst>
              <a:gd name="adj" fmla="val 21650"/>
            </a:avLst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b="1" dirty="0"/>
              <a:t>Influencer Collaborations</a:t>
            </a:r>
            <a:endParaRPr lang="en-ID" dirty="0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35A1734-8523-565A-F26D-766365C4B373}"/>
              </a:ext>
            </a:extLst>
          </p:cNvPr>
          <p:cNvSpPr/>
          <p:nvPr/>
        </p:nvSpPr>
        <p:spPr>
          <a:xfrm>
            <a:off x="751699" y="3103772"/>
            <a:ext cx="8530476" cy="498364"/>
          </a:xfrm>
          <a:prstGeom prst="roundRect">
            <a:avLst>
              <a:gd name="adj" fmla="val 21650"/>
            </a:avLst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inuous Analytics</a:t>
            </a:r>
            <a:endParaRPr lang="en-ID" b="1" dirty="0"/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9C67F79-5445-E1DC-5C13-B1A309F4AE3F}"/>
              </a:ext>
            </a:extLst>
          </p:cNvPr>
          <p:cNvSpPr/>
          <p:nvPr/>
        </p:nvSpPr>
        <p:spPr>
          <a:xfrm>
            <a:off x="751699" y="3956677"/>
            <a:ext cx="8530476" cy="498364"/>
          </a:xfrm>
          <a:prstGeom prst="roundRect">
            <a:avLst>
              <a:gd name="adj" fmla="val 21650"/>
            </a:avLst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b="1" dirty="0"/>
              <a:t>Community Engagement</a:t>
            </a:r>
            <a:r>
              <a:rPr lang="en-IN" dirty="0"/>
              <a:t>:</a:t>
            </a:r>
            <a:endParaRPr lang="en-ID" dirty="0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3F8F10A6-5155-479D-EB5D-C5080F8D9032}"/>
              </a:ext>
            </a:extLst>
          </p:cNvPr>
          <p:cNvSpPr/>
          <p:nvPr/>
        </p:nvSpPr>
        <p:spPr>
          <a:xfrm>
            <a:off x="9515217" y="2287382"/>
            <a:ext cx="2467510" cy="2570084"/>
          </a:xfrm>
          <a:prstGeom prst="roundRect">
            <a:avLst>
              <a:gd name="adj" fmla="val 11133"/>
            </a:avLst>
          </a:prstGeom>
          <a:gradFill>
            <a:gsLst>
              <a:gs pos="0">
                <a:schemeClr val="tx1"/>
              </a:gs>
              <a:gs pos="100000">
                <a:srgbClr val="191414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9" name="Picture 1028">
            <a:extLst>
              <a:ext uri="{FF2B5EF4-FFF2-40B4-BE49-F238E27FC236}">
                <a16:creationId xmlns:a16="http://schemas.microsoft.com/office/drawing/2014/main" id="{3131991B-88BE-B3EB-8D92-42D382EAE7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24" t="9014" r="21145" b="20529"/>
          <a:stretch>
            <a:fillRect/>
          </a:stretch>
        </p:blipFill>
        <p:spPr>
          <a:xfrm>
            <a:off x="9661390" y="2429692"/>
            <a:ext cx="2176312" cy="1285854"/>
          </a:xfrm>
          <a:custGeom>
            <a:avLst/>
            <a:gdLst>
              <a:gd name="connsiteX0" fmla="*/ 214313 w 2176312"/>
              <a:gd name="connsiteY0" fmla="*/ 0 h 1285854"/>
              <a:gd name="connsiteX1" fmla="*/ 1961999 w 2176312"/>
              <a:gd name="connsiteY1" fmla="*/ 0 h 1285854"/>
              <a:gd name="connsiteX2" fmla="*/ 2176312 w 2176312"/>
              <a:gd name="connsiteY2" fmla="*/ 214313 h 1285854"/>
              <a:gd name="connsiteX3" fmla="*/ 2176312 w 2176312"/>
              <a:gd name="connsiteY3" fmla="*/ 1071541 h 1285854"/>
              <a:gd name="connsiteX4" fmla="*/ 1961999 w 2176312"/>
              <a:gd name="connsiteY4" fmla="*/ 1285854 h 1285854"/>
              <a:gd name="connsiteX5" fmla="*/ 214313 w 2176312"/>
              <a:gd name="connsiteY5" fmla="*/ 1285854 h 1285854"/>
              <a:gd name="connsiteX6" fmla="*/ 0 w 2176312"/>
              <a:gd name="connsiteY6" fmla="*/ 1071541 h 1285854"/>
              <a:gd name="connsiteX7" fmla="*/ 0 w 2176312"/>
              <a:gd name="connsiteY7" fmla="*/ 214313 h 1285854"/>
              <a:gd name="connsiteX8" fmla="*/ 214313 w 2176312"/>
              <a:gd name="connsiteY8" fmla="*/ 0 h 1285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6312" h="1285854">
                <a:moveTo>
                  <a:pt x="214313" y="0"/>
                </a:moveTo>
                <a:lnTo>
                  <a:pt x="1961999" y="0"/>
                </a:lnTo>
                <a:cubicBezTo>
                  <a:pt x="2080361" y="0"/>
                  <a:pt x="2176312" y="95951"/>
                  <a:pt x="2176312" y="214313"/>
                </a:cubicBezTo>
                <a:lnTo>
                  <a:pt x="2176312" y="1071541"/>
                </a:lnTo>
                <a:cubicBezTo>
                  <a:pt x="2176312" y="1189903"/>
                  <a:pt x="2080361" y="1285854"/>
                  <a:pt x="1961999" y="1285854"/>
                </a:cubicBezTo>
                <a:lnTo>
                  <a:pt x="214313" y="1285854"/>
                </a:lnTo>
                <a:cubicBezTo>
                  <a:pt x="95951" y="1285854"/>
                  <a:pt x="0" y="1189903"/>
                  <a:pt x="0" y="1071541"/>
                </a:cubicBezTo>
                <a:lnTo>
                  <a:pt x="0" y="214313"/>
                </a:lnTo>
                <a:cubicBezTo>
                  <a:pt x="0" y="95951"/>
                  <a:pt x="95951" y="0"/>
                  <a:pt x="214313" y="0"/>
                </a:cubicBezTo>
                <a:close/>
              </a:path>
            </a:pathLst>
          </a:custGeom>
        </p:spPr>
      </p:pic>
      <p:sp>
        <p:nvSpPr>
          <p:cNvPr id="1030" name="TextBox 1029">
            <a:extLst>
              <a:ext uri="{FF2B5EF4-FFF2-40B4-BE49-F238E27FC236}">
                <a16:creationId xmlns:a16="http://schemas.microsoft.com/office/drawing/2014/main" id="{DE0389E4-C32F-28D0-905F-C758C30D6B7C}"/>
              </a:ext>
            </a:extLst>
          </p:cNvPr>
          <p:cNvSpPr txBox="1"/>
          <p:nvPr/>
        </p:nvSpPr>
        <p:spPr>
          <a:xfrm>
            <a:off x="9661390" y="3792018"/>
            <a:ext cx="2176312" cy="9576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P #1</a:t>
            </a:r>
          </a:p>
        </p:txBody>
      </p:sp>
    </p:spTree>
    <p:extLst>
      <p:ext uri="{BB962C8B-B14F-4D97-AF65-F5344CB8AC3E}">
        <p14:creationId xmlns:p14="http://schemas.microsoft.com/office/powerpoint/2010/main" val="27637692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1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3" name="Picture 1082" descr="A microphone on a stand&#10;&#10;Description automatically generated with low confidence">
            <a:extLst>
              <a:ext uri="{FF2B5EF4-FFF2-40B4-BE49-F238E27FC236}">
                <a16:creationId xmlns:a16="http://schemas.microsoft.com/office/drawing/2014/main" id="{2EE7D921-102A-E97F-02DD-3C85F0F444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318" y="3233698"/>
            <a:ext cx="4068000" cy="1620000"/>
          </a:xfrm>
          <a:custGeom>
            <a:avLst/>
            <a:gdLst>
              <a:gd name="connsiteX0" fmla="*/ 120010 w 4068000"/>
              <a:gd name="connsiteY0" fmla="*/ 0 h 1620000"/>
              <a:gd name="connsiteX1" fmla="*/ 3947990 w 4068000"/>
              <a:gd name="connsiteY1" fmla="*/ 0 h 1620000"/>
              <a:gd name="connsiteX2" fmla="*/ 4068000 w 4068000"/>
              <a:gd name="connsiteY2" fmla="*/ 120010 h 1620000"/>
              <a:gd name="connsiteX3" fmla="*/ 4068000 w 4068000"/>
              <a:gd name="connsiteY3" fmla="*/ 1499990 h 1620000"/>
              <a:gd name="connsiteX4" fmla="*/ 3947990 w 4068000"/>
              <a:gd name="connsiteY4" fmla="*/ 1620000 h 1620000"/>
              <a:gd name="connsiteX5" fmla="*/ 120010 w 4068000"/>
              <a:gd name="connsiteY5" fmla="*/ 1620000 h 1620000"/>
              <a:gd name="connsiteX6" fmla="*/ 0 w 4068000"/>
              <a:gd name="connsiteY6" fmla="*/ 1499990 h 1620000"/>
              <a:gd name="connsiteX7" fmla="*/ 0 w 4068000"/>
              <a:gd name="connsiteY7" fmla="*/ 120010 h 1620000"/>
              <a:gd name="connsiteX8" fmla="*/ 120010 w 4068000"/>
              <a:gd name="connsiteY8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8000" h="1620000">
                <a:moveTo>
                  <a:pt x="120010" y="0"/>
                </a:moveTo>
                <a:lnTo>
                  <a:pt x="3947990" y="0"/>
                </a:lnTo>
                <a:cubicBezTo>
                  <a:pt x="4014270" y="0"/>
                  <a:pt x="4068000" y="53730"/>
                  <a:pt x="4068000" y="120010"/>
                </a:cubicBezTo>
                <a:lnTo>
                  <a:pt x="4068000" y="1499990"/>
                </a:lnTo>
                <a:cubicBezTo>
                  <a:pt x="4068000" y="1566270"/>
                  <a:pt x="4014270" y="1620000"/>
                  <a:pt x="3947990" y="1620000"/>
                </a:cubicBezTo>
                <a:lnTo>
                  <a:pt x="120010" y="1620000"/>
                </a:lnTo>
                <a:cubicBezTo>
                  <a:pt x="53730" y="1620000"/>
                  <a:pt x="0" y="1566270"/>
                  <a:pt x="0" y="1499990"/>
                </a:cubicBezTo>
                <a:lnTo>
                  <a:pt x="0" y="120010"/>
                </a:lnTo>
                <a:cubicBezTo>
                  <a:pt x="0" y="53730"/>
                  <a:pt x="53730" y="0"/>
                  <a:pt x="120010" y="0"/>
                </a:cubicBezTo>
                <a:close/>
              </a:path>
            </a:pathLst>
          </a:custGeom>
          <a:effectLst>
            <a:outerShdw blurRad="1524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61" name="Picture 1060" descr="A picture containing indoor, dark, laser&#10;&#10;Description automatically generated">
            <a:extLst>
              <a:ext uri="{FF2B5EF4-FFF2-40B4-BE49-F238E27FC236}">
                <a16:creationId xmlns:a16="http://schemas.microsoft.com/office/drawing/2014/main" id="{BA9967B9-AC50-5A48-2B09-31144354C0B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77"/>
          <a:stretch/>
        </p:blipFill>
        <p:spPr>
          <a:xfrm flipH="1">
            <a:off x="7743318" y="1322985"/>
            <a:ext cx="4068000" cy="1620000"/>
          </a:xfrm>
          <a:custGeom>
            <a:avLst/>
            <a:gdLst>
              <a:gd name="connsiteX0" fmla="*/ 120010 w 4068000"/>
              <a:gd name="connsiteY0" fmla="*/ 0 h 1620000"/>
              <a:gd name="connsiteX1" fmla="*/ 3947990 w 4068000"/>
              <a:gd name="connsiteY1" fmla="*/ 0 h 1620000"/>
              <a:gd name="connsiteX2" fmla="*/ 4068000 w 4068000"/>
              <a:gd name="connsiteY2" fmla="*/ 120010 h 1620000"/>
              <a:gd name="connsiteX3" fmla="*/ 4068000 w 4068000"/>
              <a:gd name="connsiteY3" fmla="*/ 1499990 h 1620000"/>
              <a:gd name="connsiteX4" fmla="*/ 3947990 w 4068000"/>
              <a:gd name="connsiteY4" fmla="*/ 1620000 h 1620000"/>
              <a:gd name="connsiteX5" fmla="*/ 120010 w 4068000"/>
              <a:gd name="connsiteY5" fmla="*/ 1620000 h 1620000"/>
              <a:gd name="connsiteX6" fmla="*/ 0 w 4068000"/>
              <a:gd name="connsiteY6" fmla="*/ 1499990 h 1620000"/>
              <a:gd name="connsiteX7" fmla="*/ 0 w 4068000"/>
              <a:gd name="connsiteY7" fmla="*/ 120010 h 1620000"/>
              <a:gd name="connsiteX8" fmla="*/ 120010 w 4068000"/>
              <a:gd name="connsiteY8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8000" h="1620000">
                <a:moveTo>
                  <a:pt x="120010" y="0"/>
                </a:moveTo>
                <a:lnTo>
                  <a:pt x="3947990" y="0"/>
                </a:lnTo>
                <a:cubicBezTo>
                  <a:pt x="4014270" y="0"/>
                  <a:pt x="4068000" y="53730"/>
                  <a:pt x="4068000" y="120010"/>
                </a:cubicBezTo>
                <a:lnTo>
                  <a:pt x="4068000" y="1499990"/>
                </a:lnTo>
                <a:cubicBezTo>
                  <a:pt x="4068000" y="1566270"/>
                  <a:pt x="4014270" y="1620000"/>
                  <a:pt x="3947990" y="1620000"/>
                </a:cubicBezTo>
                <a:lnTo>
                  <a:pt x="120010" y="1620000"/>
                </a:lnTo>
                <a:cubicBezTo>
                  <a:pt x="53730" y="1620000"/>
                  <a:pt x="0" y="1566270"/>
                  <a:pt x="0" y="1499990"/>
                </a:cubicBezTo>
                <a:lnTo>
                  <a:pt x="0" y="120010"/>
                </a:lnTo>
                <a:cubicBezTo>
                  <a:pt x="0" y="53730"/>
                  <a:pt x="53730" y="0"/>
                  <a:pt x="120010" y="0"/>
                </a:cubicBezTo>
                <a:close/>
              </a:path>
            </a:pathLst>
          </a:custGeom>
          <a:effectLst>
            <a:outerShdw blurRad="1524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35" name="Picture 1034" descr="A person playing a keyboard&#10;&#10;Description automatically generated with medium confidence">
            <a:extLst>
              <a:ext uri="{FF2B5EF4-FFF2-40B4-BE49-F238E27FC236}">
                <a16:creationId xmlns:a16="http://schemas.microsoft.com/office/drawing/2014/main" id="{EC306564-63E7-10A9-F612-CB3261CDA7C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428683" y="3233698"/>
            <a:ext cx="4068000" cy="1620000"/>
          </a:xfrm>
          <a:custGeom>
            <a:avLst/>
            <a:gdLst>
              <a:gd name="connsiteX0" fmla="*/ 120010 w 4068000"/>
              <a:gd name="connsiteY0" fmla="*/ 0 h 1620000"/>
              <a:gd name="connsiteX1" fmla="*/ 3947990 w 4068000"/>
              <a:gd name="connsiteY1" fmla="*/ 0 h 1620000"/>
              <a:gd name="connsiteX2" fmla="*/ 4068000 w 4068000"/>
              <a:gd name="connsiteY2" fmla="*/ 120010 h 1620000"/>
              <a:gd name="connsiteX3" fmla="*/ 4068000 w 4068000"/>
              <a:gd name="connsiteY3" fmla="*/ 1499990 h 1620000"/>
              <a:gd name="connsiteX4" fmla="*/ 3947990 w 4068000"/>
              <a:gd name="connsiteY4" fmla="*/ 1620000 h 1620000"/>
              <a:gd name="connsiteX5" fmla="*/ 120010 w 4068000"/>
              <a:gd name="connsiteY5" fmla="*/ 1620000 h 1620000"/>
              <a:gd name="connsiteX6" fmla="*/ 0 w 4068000"/>
              <a:gd name="connsiteY6" fmla="*/ 1499990 h 1620000"/>
              <a:gd name="connsiteX7" fmla="*/ 0 w 4068000"/>
              <a:gd name="connsiteY7" fmla="*/ 120010 h 1620000"/>
              <a:gd name="connsiteX8" fmla="*/ 120010 w 4068000"/>
              <a:gd name="connsiteY8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8000" h="1620000">
                <a:moveTo>
                  <a:pt x="120010" y="0"/>
                </a:moveTo>
                <a:lnTo>
                  <a:pt x="3947990" y="0"/>
                </a:lnTo>
                <a:cubicBezTo>
                  <a:pt x="4014270" y="0"/>
                  <a:pt x="4068000" y="53730"/>
                  <a:pt x="4068000" y="120010"/>
                </a:cubicBezTo>
                <a:lnTo>
                  <a:pt x="4068000" y="1499990"/>
                </a:lnTo>
                <a:cubicBezTo>
                  <a:pt x="4068000" y="1566270"/>
                  <a:pt x="4014270" y="1620000"/>
                  <a:pt x="3947990" y="1620000"/>
                </a:cubicBezTo>
                <a:lnTo>
                  <a:pt x="120010" y="1620000"/>
                </a:lnTo>
                <a:cubicBezTo>
                  <a:pt x="53730" y="1620000"/>
                  <a:pt x="0" y="1566270"/>
                  <a:pt x="0" y="1499990"/>
                </a:cubicBezTo>
                <a:lnTo>
                  <a:pt x="0" y="120010"/>
                </a:lnTo>
                <a:cubicBezTo>
                  <a:pt x="0" y="53730"/>
                  <a:pt x="53730" y="0"/>
                  <a:pt x="120010" y="0"/>
                </a:cubicBezTo>
                <a:close/>
              </a:path>
            </a:pathLst>
          </a:custGeom>
          <a:effectLst>
            <a:outerShdw blurRad="1524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31" name="Picture 1030" descr="A person playing a guitar&#10;&#10;Description automatically generated with medium confidence">
            <a:extLst>
              <a:ext uri="{FF2B5EF4-FFF2-40B4-BE49-F238E27FC236}">
                <a16:creationId xmlns:a16="http://schemas.microsoft.com/office/drawing/2014/main" id="{08AF5ECF-63AB-E5ED-CAB0-C8D3F2D4FB8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28683" y="1367642"/>
            <a:ext cx="4068000" cy="1620000"/>
          </a:xfrm>
          <a:custGeom>
            <a:avLst/>
            <a:gdLst>
              <a:gd name="connsiteX0" fmla="*/ 120010 w 4068000"/>
              <a:gd name="connsiteY0" fmla="*/ 0 h 1620000"/>
              <a:gd name="connsiteX1" fmla="*/ 3947990 w 4068000"/>
              <a:gd name="connsiteY1" fmla="*/ 0 h 1620000"/>
              <a:gd name="connsiteX2" fmla="*/ 4068000 w 4068000"/>
              <a:gd name="connsiteY2" fmla="*/ 120010 h 1620000"/>
              <a:gd name="connsiteX3" fmla="*/ 4068000 w 4068000"/>
              <a:gd name="connsiteY3" fmla="*/ 1499990 h 1620000"/>
              <a:gd name="connsiteX4" fmla="*/ 3947990 w 4068000"/>
              <a:gd name="connsiteY4" fmla="*/ 1620000 h 1620000"/>
              <a:gd name="connsiteX5" fmla="*/ 120010 w 4068000"/>
              <a:gd name="connsiteY5" fmla="*/ 1620000 h 1620000"/>
              <a:gd name="connsiteX6" fmla="*/ 0 w 4068000"/>
              <a:gd name="connsiteY6" fmla="*/ 1499990 h 1620000"/>
              <a:gd name="connsiteX7" fmla="*/ 0 w 4068000"/>
              <a:gd name="connsiteY7" fmla="*/ 120010 h 1620000"/>
              <a:gd name="connsiteX8" fmla="*/ 120010 w 4068000"/>
              <a:gd name="connsiteY8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8000" h="1620000">
                <a:moveTo>
                  <a:pt x="120010" y="0"/>
                </a:moveTo>
                <a:lnTo>
                  <a:pt x="3947990" y="0"/>
                </a:lnTo>
                <a:cubicBezTo>
                  <a:pt x="4014270" y="0"/>
                  <a:pt x="4068000" y="53730"/>
                  <a:pt x="4068000" y="120010"/>
                </a:cubicBezTo>
                <a:lnTo>
                  <a:pt x="4068000" y="1499990"/>
                </a:lnTo>
                <a:cubicBezTo>
                  <a:pt x="4068000" y="1566270"/>
                  <a:pt x="4014270" y="1620000"/>
                  <a:pt x="3947990" y="1620000"/>
                </a:cubicBezTo>
                <a:lnTo>
                  <a:pt x="120010" y="1620000"/>
                </a:lnTo>
                <a:cubicBezTo>
                  <a:pt x="53730" y="1620000"/>
                  <a:pt x="0" y="1566270"/>
                  <a:pt x="0" y="1499990"/>
                </a:cubicBezTo>
                <a:lnTo>
                  <a:pt x="0" y="120010"/>
                </a:lnTo>
                <a:cubicBezTo>
                  <a:pt x="0" y="53730"/>
                  <a:pt x="53730" y="0"/>
                  <a:pt x="120010" y="0"/>
                </a:cubicBezTo>
                <a:close/>
              </a:path>
            </a:pathLst>
          </a:custGeom>
          <a:effectLst>
            <a:outerShdw blurRad="1524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55AC3A1-175C-0DC3-DBAF-F626A9F3780A}"/>
              </a:ext>
            </a:extLst>
          </p:cNvPr>
          <p:cNvSpPr txBox="1"/>
          <p:nvPr/>
        </p:nvSpPr>
        <p:spPr>
          <a:xfrm>
            <a:off x="3474402" y="388280"/>
            <a:ext cx="79307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rgbClr val="1DB95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vertising Suggestions for Spotify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42CB68-7691-44D5-88F4-20E83F6DA0D7}"/>
              </a:ext>
            </a:extLst>
          </p:cNvPr>
          <p:cNvSpPr/>
          <p:nvPr/>
        </p:nvSpPr>
        <p:spPr>
          <a:xfrm>
            <a:off x="0" y="0"/>
            <a:ext cx="306324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: Single Corner Rounded 52">
            <a:extLst>
              <a:ext uri="{FF2B5EF4-FFF2-40B4-BE49-F238E27FC236}">
                <a16:creationId xmlns:a16="http://schemas.microsoft.com/office/drawing/2014/main" id="{5BE43F74-9C87-66AE-9F3E-0B77D17F00DC}"/>
              </a:ext>
            </a:extLst>
          </p:cNvPr>
          <p:cNvSpPr/>
          <p:nvPr/>
        </p:nvSpPr>
        <p:spPr>
          <a:xfrm rot="5400000">
            <a:off x="966486" y="-966488"/>
            <a:ext cx="1145894" cy="3078870"/>
          </a:xfrm>
          <a:prstGeom prst="round1Rect">
            <a:avLst/>
          </a:prstGeom>
          <a:solidFill>
            <a:srgbClr val="0C0D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C3BD41-718C-AB2D-2DD8-FAB68B0EDD99}"/>
              </a:ext>
            </a:extLst>
          </p:cNvPr>
          <p:cNvSpPr txBox="1"/>
          <p:nvPr/>
        </p:nvSpPr>
        <p:spPr>
          <a:xfrm>
            <a:off x="500270" y="388280"/>
            <a:ext cx="20783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rwebsite.co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F45DBD-39B5-8EEA-4A17-0E22C21E483A}"/>
              </a:ext>
            </a:extLst>
          </p:cNvPr>
          <p:cNvSpPr txBox="1"/>
          <p:nvPr/>
        </p:nvSpPr>
        <p:spPr>
          <a:xfrm>
            <a:off x="383220" y="303998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 Finding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D8B386-F8F1-A598-25C0-8F33F16B23D7}"/>
              </a:ext>
            </a:extLst>
          </p:cNvPr>
          <p:cNvSpPr txBox="1"/>
          <p:nvPr/>
        </p:nvSpPr>
        <p:spPr>
          <a:xfrm>
            <a:off x="383220" y="3560958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commendation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D7F392-BD7D-2FFD-EA64-3D637936049E}"/>
              </a:ext>
            </a:extLst>
          </p:cNvPr>
          <p:cNvCxnSpPr>
            <a:cxnSpLocks/>
          </p:cNvCxnSpPr>
          <p:nvPr/>
        </p:nvCxnSpPr>
        <p:spPr>
          <a:xfrm>
            <a:off x="391668" y="2885919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9757C1F-F606-4DE6-AC74-7DF0EF74F9BC}"/>
              </a:ext>
            </a:extLst>
          </p:cNvPr>
          <p:cNvCxnSpPr>
            <a:cxnSpLocks/>
          </p:cNvCxnSpPr>
          <p:nvPr/>
        </p:nvCxnSpPr>
        <p:spPr>
          <a:xfrm>
            <a:off x="391668" y="4602914"/>
            <a:ext cx="227990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: Top Corners Rounded 59">
            <a:extLst>
              <a:ext uri="{FF2B5EF4-FFF2-40B4-BE49-F238E27FC236}">
                <a16:creationId xmlns:a16="http://schemas.microsoft.com/office/drawing/2014/main" id="{A8B32FA7-9DD5-84FD-B013-2AC801BA3D78}"/>
              </a:ext>
            </a:extLst>
          </p:cNvPr>
          <p:cNvSpPr/>
          <p:nvPr/>
        </p:nvSpPr>
        <p:spPr>
          <a:xfrm>
            <a:off x="11079126" y="6308725"/>
            <a:ext cx="777912" cy="549275"/>
          </a:xfrm>
          <a:prstGeom prst="round2SameRect">
            <a:avLst/>
          </a:prstGeom>
          <a:solidFill>
            <a:srgbClr val="1DB9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C89FD349-03DF-7969-4E20-94C89D32B59F}"/>
              </a:ext>
            </a:extLst>
          </p:cNvPr>
          <p:cNvCxnSpPr>
            <a:cxnSpLocks/>
          </p:cNvCxnSpPr>
          <p:nvPr/>
        </p:nvCxnSpPr>
        <p:spPr>
          <a:xfrm>
            <a:off x="3428683" y="6583362"/>
            <a:ext cx="710184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5" name="Slide Number Placeholder 4">
            <a:extLst>
              <a:ext uri="{FF2B5EF4-FFF2-40B4-BE49-F238E27FC236}">
                <a16:creationId xmlns:a16="http://schemas.microsoft.com/office/drawing/2014/main" id="{5CA130BB-4BBB-5DA4-96B0-88C5D390A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4553" y="6400800"/>
            <a:ext cx="587058" cy="365125"/>
          </a:xfrm>
        </p:spPr>
        <p:txBody>
          <a:bodyPr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7D8155-ABD6-F7A4-7BD8-AE4C6523263F}"/>
              </a:ext>
            </a:extLst>
          </p:cNvPr>
          <p:cNvSpPr txBox="1"/>
          <p:nvPr/>
        </p:nvSpPr>
        <p:spPr>
          <a:xfrm>
            <a:off x="383220" y="132298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out Us</a:t>
            </a:r>
          </a:p>
        </p:txBody>
      </p: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84FEDBCB-F5BF-06A6-6478-55A5CB93C7D5}"/>
              </a:ext>
            </a:extLst>
          </p:cNvPr>
          <p:cNvGrpSpPr>
            <a:grpSpLocks noChangeAspect="1"/>
          </p:cNvGrpSpPr>
          <p:nvPr/>
        </p:nvGrpSpPr>
        <p:grpSpPr>
          <a:xfrm>
            <a:off x="602808" y="1919421"/>
            <a:ext cx="236623" cy="216000"/>
            <a:chOff x="3398838" y="5076826"/>
            <a:chExt cx="346075" cy="315913"/>
          </a:xfrm>
        </p:grpSpPr>
        <p:sp>
          <p:nvSpPr>
            <p:cNvPr id="1049" name="Rectangle 80">
              <a:extLst>
                <a:ext uri="{FF2B5EF4-FFF2-40B4-BE49-F238E27FC236}">
                  <a16:creationId xmlns:a16="http://schemas.microsoft.com/office/drawing/2014/main" id="{446BDA79-9A35-3C64-4AEC-12C71631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07682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0" name="Rectangle 81">
              <a:extLst>
                <a:ext uri="{FF2B5EF4-FFF2-40B4-BE49-F238E27FC236}">
                  <a16:creationId xmlns:a16="http://schemas.microsoft.com/office/drawing/2014/main" id="{C7E7262C-BF95-F641-9DD5-2B9727973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197476"/>
              <a:ext cx="225425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1" name="Rectangle 82">
              <a:extLst>
                <a:ext uri="{FF2B5EF4-FFF2-40B4-BE49-F238E27FC236}">
                  <a16:creationId xmlns:a16="http://schemas.microsoft.com/office/drawing/2014/main" id="{A96942F4-9C7F-420F-F31F-807F4429A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5316539"/>
              <a:ext cx="225425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2" name="Rectangle 83">
              <a:extLst>
                <a:ext uri="{FF2B5EF4-FFF2-40B4-BE49-F238E27FC236}">
                  <a16:creationId xmlns:a16="http://schemas.microsoft.com/office/drawing/2014/main" id="{91024072-B3C9-6E65-1B86-F98B16129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07682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3" name="Rectangle 84">
              <a:extLst>
                <a:ext uri="{FF2B5EF4-FFF2-40B4-BE49-F238E27FC236}">
                  <a16:creationId xmlns:a16="http://schemas.microsoft.com/office/drawing/2014/main" id="{6D5AE946-F519-530D-3F1D-F726A68A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197476"/>
              <a:ext cx="74613" cy="746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4" name="Rectangle 85">
              <a:extLst>
                <a:ext uri="{FF2B5EF4-FFF2-40B4-BE49-F238E27FC236}">
                  <a16:creationId xmlns:a16="http://schemas.microsoft.com/office/drawing/2014/main" id="{6EF60173-55AC-8332-594E-A7CEF62B6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5316539"/>
              <a:ext cx="74613" cy="7620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74F3A740-AD9E-F587-C3FF-956880489C46}"/>
              </a:ext>
            </a:extLst>
          </p:cNvPr>
          <p:cNvGrpSpPr/>
          <p:nvPr/>
        </p:nvGrpSpPr>
        <p:grpSpPr>
          <a:xfrm>
            <a:off x="591710" y="1393732"/>
            <a:ext cx="258819" cy="225423"/>
            <a:chOff x="7005638" y="3648076"/>
            <a:chExt cx="344488" cy="300038"/>
          </a:xfrm>
        </p:grpSpPr>
        <p:sp>
          <p:nvSpPr>
            <p:cNvPr id="1037" name="Freeform 90">
              <a:extLst>
                <a:ext uri="{FF2B5EF4-FFF2-40B4-BE49-F238E27FC236}">
                  <a16:creationId xmlns:a16="http://schemas.microsoft.com/office/drawing/2014/main" id="{78C37A5C-C91B-9044-27D6-8F391B84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648076"/>
              <a:ext cx="344488" cy="269875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8" name="Line 91">
              <a:extLst>
                <a:ext uri="{FF2B5EF4-FFF2-40B4-BE49-F238E27FC236}">
                  <a16:creationId xmlns:a16="http://schemas.microsoft.com/office/drawing/2014/main" id="{D85A1BE9-60DB-F019-DD69-44D7B4390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48113"/>
              <a:ext cx="2111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9" name="Line 92">
              <a:extLst>
                <a:ext uri="{FF2B5EF4-FFF2-40B4-BE49-F238E27FC236}">
                  <a16:creationId xmlns:a16="http://schemas.microsoft.com/office/drawing/2014/main" id="{E958D838-16E4-F50B-23BF-CD6D45A7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6" y="3917951"/>
              <a:ext cx="0" cy="3016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0" name="Oval 93">
              <a:extLst>
                <a:ext uri="{FF2B5EF4-FFF2-40B4-BE49-F238E27FC236}">
                  <a16:creationId xmlns:a16="http://schemas.microsoft.com/office/drawing/2014/main" id="{6959AF5A-8014-EB78-8EEA-A82DD80D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3881438"/>
              <a:ext cx="14288" cy="142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1" name="Line 94">
              <a:extLst>
                <a:ext uri="{FF2B5EF4-FFF2-40B4-BE49-F238E27FC236}">
                  <a16:creationId xmlns:a16="http://schemas.microsoft.com/office/drawing/2014/main" id="{A5EAEB2C-1728-5B92-187E-D54C3F255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857626"/>
              <a:ext cx="344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2" name="Freeform 95">
              <a:extLst>
                <a:ext uri="{FF2B5EF4-FFF2-40B4-BE49-F238E27FC236}">
                  <a16:creationId xmlns:a16="http://schemas.microsoft.com/office/drawing/2014/main" id="{7E997864-CC9D-D8DD-EE44-D04B09CB7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6" y="3703638"/>
              <a:ext cx="82550" cy="101600"/>
            </a:xfrm>
            <a:custGeom>
              <a:avLst/>
              <a:gdLst>
                <a:gd name="T0" fmla="*/ 0 w 52"/>
                <a:gd name="T1" fmla="*/ 0 h 64"/>
                <a:gd name="T2" fmla="*/ 0 w 52"/>
                <a:gd name="T3" fmla="*/ 64 h 64"/>
                <a:gd name="T4" fmla="*/ 52 w 52"/>
                <a:gd name="T5" fmla="*/ 33 h 64"/>
                <a:gd name="T6" fmla="*/ 0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0" y="0"/>
                  </a:moveTo>
                  <a:lnTo>
                    <a:pt x="0" y="64"/>
                  </a:lnTo>
                  <a:lnTo>
                    <a:pt x="52" y="3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B529057-8E8F-C756-316D-3D36CCE9A37F}"/>
              </a:ext>
            </a:extLst>
          </p:cNvPr>
          <p:cNvSpPr txBox="1"/>
          <p:nvPr/>
        </p:nvSpPr>
        <p:spPr>
          <a:xfrm>
            <a:off x="383220" y="184396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Album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17212D6-0B40-9DE6-5EAE-AB1F22D6F44B}"/>
              </a:ext>
            </a:extLst>
          </p:cNvPr>
          <p:cNvGrpSpPr>
            <a:grpSpLocks noChangeAspect="1"/>
          </p:cNvGrpSpPr>
          <p:nvPr/>
        </p:nvGrpSpPr>
        <p:grpSpPr>
          <a:xfrm>
            <a:off x="607670" y="2440399"/>
            <a:ext cx="226899" cy="216000"/>
            <a:chOff x="5483226" y="731838"/>
            <a:chExt cx="363538" cy="346076"/>
          </a:xfrm>
        </p:grpSpPr>
        <p:sp>
          <p:nvSpPr>
            <p:cNvPr id="5" name="Freeform 244">
              <a:extLst>
                <a:ext uri="{FF2B5EF4-FFF2-40B4-BE49-F238E27FC236}">
                  <a16:creationId xmlns:a16="http://schemas.microsoft.com/office/drawing/2014/main" id="{BD5D1E91-DF1E-3A83-D016-43C9CC97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1" y="739776"/>
              <a:ext cx="93663" cy="195263"/>
            </a:xfrm>
            <a:custGeom>
              <a:avLst/>
              <a:gdLst>
                <a:gd name="T0" fmla="*/ 12 w 25"/>
                <a:gd name="T1" fmla="*/ 52 h 52"/>
                <a:gd name="T2" fmla="*/ 15 w 25"/>
                <a:gd name="T3" fmla="*/ 46 h 52"/>
                <a:gd name="T4" fmla="*/ 6 w 25"/>
                <a:gd name="T5" fmla="*/ 10 h 52"/>
                <a:gd name="T6" fmla="*/ 0 w 25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2">
                  <a:moveTo>
                    <a:pt x="12" y="52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6" y="41"/>
                    <a:pt x="25" y="23"/>
                    <a:pt x="6" y="10"/>
                  </a:cubicBezTo>
                  <a:cubicBezTo>
                    <a:pt x="0" y="6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245">
              <a:extLst>
                <a:ext uri="{FF2B5EF4-FFF2-40B4-BE49-F238E27FC236}">
                  <a16:creationId xmlns:a16="http://schemas.microsoft.com/office/drawing/2014/main" id="{26762164-400E-E6AF-C554-F89B22CC8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4" y="987426"/>
              <a:ext cx="90488" cy="90488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0 h 24"/>
                <a:gd name="T10" fmla="*/ 24 w 24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8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22" y="0"/>
                    <a:pt x="24" y="0"/>
                  </a:cubicBezTo>
                  <a:cubicBezTo>
                    <a:pt x="24" y="4"/>
                    <a:pt x="24" y="8"/>
                    <a:pt x="24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246">
              <a:extLst>
                <a:ext uri="{FF2B5EF4-FFF2-40B4-BE49-F238E27FC236}">
                  <a16:creationId xmlns:a16="http://schemas.microsoft.com/office/drawing/2014/main" id="{70A91313-16DC-0CBF-8557-5C3B6B6EEB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53101" y="731838"/>
              <a:ext cx="0" cy="26987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247">
              <a:extLst>
                <a:ext uri="{FF2B5EF4-FFF2-40B4-BE49-F238E27FC236}">
                  <a16:creationId xmlns:a16="http://schemas.microsoft.com/office/drawing/2014/main" id="{9D115F21-E694-E7DA-E14C-5A78349903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7778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248">
              <a:extLst>
                <a:ext uri="{FF2B5EF4-FFF2-40B4-BE49-F238E27FC236}">
                  <a16:creationId xmlns:a16="http://schemas.microsoft.com/office/drawing/2014/main" id="{D54B7384-AB70-82C5-E34A-AF92FEA96A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2232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249">
              <a:extLst>
                <a:ext uri="{FF2B5EF4-FFF2-40B4-BE49-F238E27FC236}">
                  <a16:creationId xmlns:a16="http://schemas.microsoft.com/office/drawing/2014/main" id="{AB1ECDFF-E962-5F9C-2B64-7A50FF41C7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866776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250">
              <a:extLst>
                <a:ext uri="{FF2B5EF4-FFF2-40B4-BE49-F238E27FC236}">
                  <a16:creationId xmlns:a16="http://schemas.microsoft.com/office/drawing/2014/main" id="{539C8972-29D3-D925-ED9B-54130F2FCE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12813"/>
              <a:ext cx="1793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251">
              <a:extLst>
                <a:ext uri="{FF2B5EF4-FFF2-40B4-BE49-F238E27FC236}">
                  <a16:creationId xmlns:a16="http://schemas.microsoft.com/office/drawing/2014/main" id="{E7701B33-F717-C098-51EF-20095EECEE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957263"/>
              <a:ext cx="14922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252">
              <a:extLst>
                <a:ext uri="{FF2B5EF4-FFF2-40B4-BE49-F238E27FC236}">
                  <a16:creationId xmlns:a16="http://schemas.microsoft.com/office/drawing/2014/main" id="{534D679F-BFDE-B875-C9D8-CCEB3156FE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3226" y="1001713"/>
              <a:ext cx="1047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84" name="Rectangle: Rounded Corners 1083">
            <a:extLst>
              <a:ext uri="{FF2B5EF4-FFF2-40B4-BE49-F238E27FC236}">
                <a16:creationId xmlns:a16="http://schemas.microsoft.com/office/drawing/2014/main" id="{2DDA1D2F-BB9C-CDEA-F111-038F5CDDB7DF}"/>
              </a:ext>
            </a:extLst>
          </p:cNvPr>
          <p:cNvSpPr/>
          <p:nvPr/>
        </p:nvSpPr>
        <p:spPr>
          <a:xfrm>
            <a:off x="3428685" y="1367642"/>
            <a:ext cx="4067998" cy="1620000"/>
          </a:xfrm>
          <a:prstGeom prst="roundRect">
            <a:avLst>
              <a:gd name="adj" fmla="val 7408"/>
            </a:avLst>
          </a:prstGeom>
          <a:gradFill flip="none" rotWithShape="1">
            <a:gsLst>
              <a:gs pos="0">
                <a:srgbClr val="0A0A0B"/>
              </a:gs>
              <a:gs pos="36000">
                <a:srgbClr val="0A0A0B">
                  <a:alpha val="65000"/>
                </a:srgbClr>
              </a:gs>
              <a:gs pos="100000">
                <a:srgbClr val="0C0D0E">
                  <a:alpha val="13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42" name="Rectangle: Rounded Corners 1141">
            <a:extLst>
              <a:ext uri="{FF2B5EF4-FFF2-40B4-BE49-F238E27FC236}">
                <a16:creationId xmlns:a16="http://schemas.microsoft.com/office/drawing/2014/main" id="{B429F27B-82AA-1D69-AE86-D708F97500E7}"/>
              </a:ext>
            </a:extLst>
          </p:cNvPr>
          <p:cNvSpPr/>
          <p:nvPr/>
        </p:nvSpPr>
        <p:spPr>
          <a:xfrm>
            <a:off x="3428685" y="3233698"/>
            <a:ext cx="4067998" cy="1620000"/>
          </a:xfrm>
          <a:prstGeom prst="roundRect">
            <a:avLst>
              <a:gd name="adj" fmla="val 7408"/>
            </a:avLst>
          </a:prstGeom>
          <a:gradFill flip="none" rotWithShape="1">
            <a:gsLst>
              <a:gs pos="0">
                <a:srgbClr val="0A0A0B"/>
              </a:gs>
              <a:gs pos="36000">
                <a:srgbClr val="0A0A0B">
                  <a:alpha val="65000"/>
                </a:srgbClr>
              </a:gs>
              <a:gs pos="100000">
                <a:srgbClr val="0C0D0E">
                  <a:alpha val="13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62" name="Rectangle: Rounded Corners 1161">
            <a:extLst>
              <a:ext uri="{FF2B5EF4-FFF2-40B4-BE49-F238E27FC236}">
                <a16:creationId xmlns:a16="http://schemas.microsoft.com/office/drawing/2014/main" id="{25F918C9-4B0F-DA07-CA1A-781C53E708C1}"/>
              </a:ext>
            </a:extLst>
          </p:cNvPr>
          <p:cNvSpPr/>
          <p:nvPr/>
        </p:nvSpPr>
        <p:spPr>
          <a:xfrm>
            <a:off x="7743320" y="1367642"/>
            <a:ext cx="4067998" cy="1620000"/>
          </a:xfrm>
          <a:prstGeom prst="roundRect">
            <a:avLst>
              <a:gd name="adj" fmla="val 7408"/>
            </a:avLst>
          </a:prstGeom>
          <a:gradFill flip="none" rotWithShape="1">
            <a:gsLst>
              <a:gs pos="0">
                <a:srgbClr val="0A0A0B"/>
              </a:gs>
              <a:gs pos="36000">
                <a:srgbClr val="0A0A0B">
                  <a:alpha val="65000"/>
                </a:srgbClr>
              </a:gs>
              <a:gs pos="100000">
                <a:srgbClr val="0C0D0E">
                  <a:alpha val="13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67" name="Rectangle: Rounded Corners 1166">
            <a:extLst>
              <a:ext uri="{FF2B5EF4-FFF2-40B4-BE49-F238E27FC236}">
                <a16:creationId xmlns:a16="http://schemas.microsoft.com/office/drawing/2014/main" id="{30DCA0B4-9343-B548-0DC0-9AFCB92D1D72}"/>
              </a:ext>
            </a:extLst>
          </p:cNvPr>
          <p:cNvSpPr/>
          <p:nvPr/>
        </p:nvSpPr>
        <p:spPr>
          <a:xfrm>
            <a:off x="7743320" y="3233698"/>
            <a:ext cx="4067998" cy="1620000"/>
          </a:xfrm>
          <a:prstGeom prst="roundRect">
            <a:avLst>
              <a:gd name="adj" fmla="val 7408"/>
            </a:avLst>
          </a:prstGeom>
          <a:gradFill flip="none" rotWithShape="1">
            <a:gsLst>
              <a:gs pos="0">
                <a:srgbClr val="0A0A0B"/>
              </a:gs>
              <a:gs pos="36000">
                <a:srgbClr val="0A0A0B">
                  <a:alpha val="65000"/>
                </a:srgbClr>
              </a:gs>
              <a:gs pos="100000">
                <a:srgbClr val="0C0D0E">
                  <a:alpha val="13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69" name="Rectangle: Rounded Corners 1168">
            <a:extLst>
              <a:ext uri="{FF2B5EF4-FFF2-40B4-BE49-F238E27FC236}">
                <a16:creationId xmlns:a16="http://schemas.microsoft.com/office/drawing/2014/main" id="{B831DA6B-55EE-3AF6-C0AA-41B72839D0E0}"/>
              </a:ext>
            </a:extLst>
          </p:cNvPr>
          <p:cNvSpPr/>
          <p:nvPr/>
        </p:nvSpPr>
        <p:spPr>
          <a:xfrm>
            <a:off x="4172515" y="1917153"/>
            <a:ext cx="3038634" cy="520978"/>
          </a:xfrm>
          <a:prstGeom prst="roundRect">
            <a:avLst>
              <a:gd name="adj" fmla="val 50000"/>
            </a:avLst>
          </a:prstGeom>
          <a:solidFill>
            <a:srgbClr val="1DB954"/>
          </a:solidFill>
          <a:ln>
            <a:noFill/>
          </a:ln>
          <a:effectLst>
            <a:outerShdw blurRad="190500" dist="38100" dir="5400000" algn="t" rotWithShape="0">
              <a:srgbClr val="1DB954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/>
              <a:t>Data-Driven Targeting</a:t>
            </a:r>
          </a:p>
        </p:txBody>
      </p:sp>
      <p:sp>
        <p:nvSpPr>
          <p:cNvPr id="1174" name="Rectangle: Rounded Corners 1173">
            <a:extLst>
              <a:ext uri="{FF2B5EF4-FFF2-40B4-BE49-F238E27FC236}">
                <a16:creationId xmlns:a16="http://schemas.microsoft.com/office/drawing/2014/main" id="{27CC0E14-B6CB-03DC-37C2-03D0F0FBE897}"/>
              </a:ext>
            </a:extLst>
          </p:cNvPr>
          <p:cNvSpPr/>
          <p:nvPr/>
        </p:nvSpPr>
        <p:spPr>
          <a:xfrm>
            <a:off x="4444227" y="3783209"/>
            <a:ext cx="2766921" cy="520978"/>
          </a:xfrm>
          <a:prstGeom prst="roundRect">
            <a:avLst>
              <a:gd name="adj" fmla="val 50000"/>
            </a:avLst>
          </a:prstGeom>
          <a:solidFill>
            <a:srgbClr val="1DB954"/>
          </a:solidFill>
          <a:ln>
            <a:noFill/>
          </a:ln>
          <a:effectLst>
            <a:outerShdw blurRad="190500" dist="38100" dir="5400000" algn="t" rotWithShape="0">
              <a:srgbClr val="1DB954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ographical Focus</a:t>
            </a:r>
            <a:endParaRPr lang="en-IN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75" name="Rectangle: Rounded Corners 1174">
            <a:extLst>
              <a:ext uri="{FF2B5EF4-FFF2-40B4-BE49-F238E27FC236}">
                <a16:creationId xmlns:a16="http://schemas.microsoft.com/office/drawing/2014/main" id="{D4C0614D-346A-FE42-331E-611D2DBEA15D}"/>
              </a:ext>
            </a:extLst>
          </p:cNvPr>
          <p:cNvSpPr/>
          <p:nvPr/>
        </p:nvSpPr>
        <p:spPr>
          <a:xfrm>
            <a:off x="7954979" y="1917153"/>
            <a:ext cx="3570804" cy="520978"/>
          </a:xfrm>
          <a:prstGeom prst="roundRect">
            <a:avLst>
              <a:gd name="adj" fmla="val 50000"/>
            </a:avLst>
          </a:prstGeom>
          <a:solidFill>
            <a:srgbClr val="1DB954"/>
          </a:solidFill>
          <a:ln>
            <a:noFill/>
          </a:ln>
          <a:effectLst>
            <a:outerShdw blurRad="190500" dist="38100" dir="5400000" algn="t" rotWithShape="0">
              <a:srgbClr val="1DB954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b="1" dirty="0"/>
              <a:t>Interactive and Engaging Ads</a:t>
            </a:r>
            <a:endParaRPr lang="en-US" sz="1600" b="1" dirty="0"/>
          </a:p>
        </p:txBody>
      </p:sp>
      <p:sp>
        <p:nvSpPr>
          <p:cNvPr id="1178" name="Rectangle: Rounded Corners 1177">
            <a:extLst>
              <a:ext uri="{FF2B5EF4-FFF2-40B4-BE49-F238E27FC236}">
                <a16:creationId xmlns:a16="http://schemas.microsoft.com/office/drawing/2014/main" id="{0F3A6DCA-6468-59CF-6C24-ABDB01059D54}"/>
              </a:ext>
            </a:extLst>
          </p:cNvPr>
          <p:cNvSpPr/>
          <p:nvPr/>
        </p:nvSpPr>
        <p:spPr>
          <a:xfrm>
            <a:off x="8226690" y="3783209"/>
            <a:ext cx="3299093" cy="520978"/>
          </a:xfrm>
          <a:prstGeom prst="roundRect">
            <a:avLst>
              <a:gd name="adj" fmla="val 50000"/>
            </a:avLst>
          </a:prstGeom>
          <a:solidFill>
            <a:srgbClr val="1DB954"/>
          </a:solidFill>
          <a:ln>
            <a:noFill/>
          </a:ln>
          <a:effectLst>
            <a:outerShdw blurRad="190500" dist="38100" dir="5400000" algn="t" rotWithShape="0">
              <a:srgbClr val="1DB954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b="1" dirty="0"/>
              <a:t>Cross-Platform Integration</a:t>
            </a:r>
            <a:endParaRPr lang="en-US" sz="1600" b="1" dirty="0"/>
          </a:p>
        </p:txBody>
      </p:sp>
      <p:sp>
        <p:nvSpPr>
          <p:cNvPr id="1181" name="Oval 1180">
            <a:extLst>
              <a:ext uri="{FF2B5EF4-FFF2-40B4-BE49-F238E27FC236}">
                <a16:creationId xmlns:a16="http://schemas.microsoft.com/office/drawing/2014/main" id="{7C48507F-B945-9663-40DE-76302DAF9FA5}"/>
              </a:ext>
            </a:extLst>
          </p:cNvPr>
          <p:cNvSpPr/>
          <p:nvPr/>
        </p:nvSpPr>
        <p:spPr>
          <a:xfrm>
            <a:off x="6734175" y="1992492"/>
            <a:ext cx="370301" cy="37030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524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2" name="Oval 1181">
            <a:extLst>
              <a:ext uri="{FF2B5EF4-FFF2-40B4-BE49-F238E27FC236}">
                <a16:creationId xmlns:a16="http://schemas.microsoft.com/office/drawing/2014/main" id="{F96A1CA8-B6FC-5BED-2EA9-A294F69F7F4A}"/>
              </a:ext>
            </a:extLst>
          </p:cNvPr>
          <p:cNvSpPr/>
          <p:nvPr/>
        </p:nvSpPr>
        <p:spPr>
          <a:xfrm>
            <a:off x="6734175" y="3858548"/>
            <a:ext cx="370301" cy="37030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524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3" name="Oval 1182">
            <a:extLst>
              <a:ext uri="{FF2B5EF4-FFF2-40B4-BE49-F238E27FC236}">
                <a16:creationId xmlns:a16="http://schemas.microsoft.com/office/drawing/2014/main" id="{B41A31BA-C9F4-C2D2-49FC-6FAE87389D1A}"/>
              </a:ext>
            </a:extLst>
          </p:cNvPr>
          <p:cNvSpPr/>
          <p:nvPr/>
        </p:nvSpPr>
        <p:spPr>
          <a:xfrm>
            <a:off x="11045589" y="1992492"/>
            <a:ext cx="370301" cy="37030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524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4" name="Oval 1183">
            <a:extLst>
              <a:ext uri="{FF2B5EF4-FFF2-40B4-BE49-F238E27FC236}">
                <a16:creationId xmlns:a16="http://schemas.microsoft.com/office/drawing/2014/main" id="{927EB71E-EA91-5C2B-AA08-3240F0B8D2F0}"/>
              </a:ext>
            </a:extLst>
          </p:cNvPr>
          <p:cNvSpPr>
            <a:spLocks noChangeAspect="1"/>
          </p:cNvSpPr>
          <p:nvPr/>
        </p:nvSpPr>
        <p:spPr>
          <a:xfrm>
            <a:off x="11045589" y="3858548"/>
            <a:ext cx="370301" cy="37030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524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85" name="Group 1184">
            <a:extLst>
              <a:ext uri="{FF2B5EF4-FFF2-40B4-BE49-F238E27FC236}">
                <a16:creationId xmlns:a16="http://schemas.microsoft.com/office/drawing/2014/main" id="{FA50BF1E-19F7-7A8A-6B15-30381E5BFDB4}"/>
              </a:ext>
            </a:extLst>
          </p:cNvPr>
          <p:cNvGrpSpPr>
            <a:grpSpLocks noChangeAspect="1"/>
          </p:cNvGrpSpPr>
          <p:nvPr/>
        </p:nvGrpSpPr>
        <p:grpSpPr>
          <a:xfrm>
            <a:off x="11143464" y="3917698"/>
            <a:ext cx="174551" cy="252000"/>
            <a:chOff x="3379789" y="1452563"/>
            <a:chExt cx="239713" cy="346075"/>
          </a:xfrm>
        </p:grpSpPr>
        <p:sp>
          <p:nvSpPr>
            <p:cNvPr id="1186" name="Freeform 5">
              <a:extLst>
                <a:ext uri="{FF2B5EF4-FFF2-40B4-BE49-F238E27FC236}">
                  <a16:creationId xmlns:a16="http://schemas.microsoft.com/office/drawing/2014/main" id="{D0626F56-956B-A80B-037F-5A1BF67DE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7" name="Freeform 6">
              <a:extLst>
                <a:ext uri="{FF2B5EF4-FFF2-40B4-BE49-F238E27FC236}">
                  <a16:creationId xmlns:a16="http://schemas.microsoft.com/office/drawing/2014/main" id="{CA04C266-44AF-B769-6C13-525CEE13B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8" name="Line 7">
              <a:extLst>
                <a:ext uri="{FF2B5EF4-FFF2-40B4-BE49-F238E27FC236}">
                  <a16:creationId xmlns:a16="http://schemas.microsoft.com/office/drawing/2014/main" id="{E2691482-16AF-C07C-10D0-5D8393D406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9" name="Line 8">
              <a:extLst>
                <a:ext uri="{FF2B5EF4-FFF2-40B4-BE49-F238E27FC236}">
                  <a16:creationId xmlns:a16="http://schemas.microsoft.com/office/drawing/2014/main" id="{3986A4B2-05F9-C88F-43BF-0BBCFCBE02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0" name="Line 9">
              <a:extLst>
                <a:ext uri="{FF2B5EF4-FFF2-40B4-BE49-F238E27FC236}">
                  <a16:creationId xmlns:a16="http://schemas.microsoft.com/office/drawing/2014/main" id="{75DB5249-D383-1BAF-C9DF-B4FB136AD8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1" name="Line 10">
              <a:extLst>
                <a:ext uri="{FF2B5EF4-FFF2-40B4-BE49-F238E27FC236}">
                  <a16:creationId xmlns:a16="http://schemas.microsoft.com/office/drawing/2014/main" id="{BBF95C93-8BB8-4C2E-0159-B742EA4EDE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2" name="Line 11">
              <a:extLst>
                <a:ext uri="{FF2B5EF4-FFF2-40B4-BE49-F238E27FC236}">
                  <a16:creationId xmlns:a16="http://schemas.microsoft.com/office/drawing/2014/main" id="{9BD34E5E-22CD-A394-6A7C-1BA90B3AD9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3" name="Line 12">
              <a:extLst>
                <a:ext uri="{FF2B5EF4-FFF2-40B4-BE49-F238E27FC236}">
                  <a16:creationId xmlns:a16="http://schemas.microsoft.com/office/drawing/2014/main" id="{BD03FBFA-1A22-22ED-BF24-7BA2719161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4" name="Line 13">
              <a:extLst>
                <a:ext uri="{FF2B5EF4-FFF2-40B4-BE49-F238E27FC236}">
                  <a16:creationId xmlns:a16="http://schemas.microsoft.com/office/drawing/2014/main" id="{1468671A-300E-2D65-D69B-17C221935F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5" name="Line 14">
              <a:extLst>
                <a:ext uri="{FF2B5EF4-FFF2-40B4-BE49-F238E27FC236}">
                  <a16:creationId xmlns:a16="http://schemas.microsoft.com/office/drawing/2014/main" id="{C28A08B9-F92F-E871-4738-F9F3C56F4B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6" name="Line 15">
              <a:extLst>
                <a:ext uri="{FF2B5EF4-FFF2-40B4-BE49-F238E27FC236}">
                  <a16:creationId xmlns:a16="http://schemas.microsoft.com/office/drawing/2014/main" id="{A34E44AC-B904-7ACE-10F7-2B9081827F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7" name="Line 16">
              <a:extLst>
                <a:ext uri="{FF2B5EF4-FFF2-40B4-BE49-F238E27FC236}">
                  <a16:creationId xmlns:a16="http://schemas.microsoft.com/office/drawing/2014/main" id="{8905BCCF-2F0E-953A-8C7D-53D236ECCE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8" name="Line 17">
              <a:extLst>
                <a:ext uri="{FF2B5EF4-FFF2-40B4-BE49-F238E27FC236}">
                  <a16:creationId xmlns:a16="http://schemas.microsoft.com/office/drawing/2014/main" id="{636D0E65-F130-65F9-A7C9-6045AD5F15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99" name="Group 1198">
            <a:extLst>
              <a:ext uri="{FF2B5EF4-FFF2-40B4-BE49-F238E27FC236}">
                <a16:creationId xmlns:a16="http://schemas.microsoft.com/office/drawing/2014/main" id="{CA93D5A7-F2DB-FBA2-08CB-8AD185C3D11A}"/>
              </a:ext>
            </a:extLst>
          </p:cNvPr>
          <p:cNvGrpSpPr>
            <a:grpSpLocks noChangeAspect="1"/>
          </p:cNvGrpSpPr>
          <p:nvPr/>
        </p:nvGrpSpPr>
        <p:grpSpPr>
          <a:xfrm>
            <a:off x="6792239" y="2051642"/>
            <a:ext cx="254173" cy="252000"/>
            <a:chOff x="4010026" y="2895601"/>
            <a:chExt cx="371476" cy="368300"/>
          </a:xfrm>
        </p:grpSpPr>
        <p:sp>
          <p:nvSpPr>
            <p:cNvPr id="1200" name="Freeform 87">
              <a:extLst>
                <a:ext uri="{FF2B5EF4-FFF2-40B4-BE49-F238E27FC236}">
                  <a16:creationId xmlns:a16="http://schemas.microsoft.com/office/drawing/2014/main" id="{0B1AEB39-F8B0-0E76-7FB8-86A386B05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076" y="3052763"/>
              <a:ext cx="65088" cy="68263"/>
            </a:xfrm>
            <a:custGeom>
              <a:avLst/>
              <a:gdLst>
                <a:gd name="T0" fmla="*/ 14 w 17"/>
                <a:gd name="T1" fmla="*/ 15 h 18"/>
                <a:gd name="T2" fmla="*/ 3 w 17"/>
                <a:gd name="T3" fmla="*/ 15 h 18"/>
                <a:gd name="T4" fmla="*/ 3 w 17"/>
                <a:gd name="T5" fmla="*/ 3 h 18"/>
                <a:gd name="T6" fmla="*/ 14 w 17"/>
                <a:gd name="T7" fmla="*/ 3 h 18"/>
                <a:gd name="T8" fmla="*/ 14 w 17"/>
                <a:gd name="T9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4" y="15"/>
                  </a:moveTo>
                  <a:cubicBezTo>
                    <a:pt x="11" y="18"/>
                    <a:pt x="6" y="18"/>
                    <a:pt x="3" y="15"/>
                  </a:cubicBez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7" y="6"/>
                    <a:pt x="17" y="11"/>
                    <a:pt x="14" y="15"/>
                  </a:cubicBez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1" name="Line 88">
              <a:extLst>
                <a:ext uri="{FF2B5EF4-FFF2-40B4-BE49-F238E27FC236}">
                  <a16:creationId xmlns:a16="http://schemas.microsoft.com/office/drawing/2014/main" id="{63A1BFF6-D566-9700-2026-C76D70C85D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81464" y="3151188"/>
              <a:ext cx="44450" cy="41275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2" name="Freeform 89">
              <a:extLst>
                <a:ext uri="{FF2B5EF4-FFF2-40B4-BE49-F238E27FC236}">
                  <a16:creationId xmlns:a16="http://schemas.microsoft.com/office/drawing/2014/main" id="{DDE44342-E3FD-F801-B7AB-EEF9AD46F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0026" y="2895601"/>
              <a:ext cx="371475" cy="368300"/>
            </a:xfrm>
            <a:custGeom>
              <a:avLst/>
              <a:gdLst>
                <a:gd name="T0" fmla="*/ 89 w 99"/>
                <a:gd name="T1" fmla="*/ 0 h 98"/>
                <a:gd name="T2" fmla="*/ 73 w 99"/>
                <a:gd name="T3" fmla="*/ 16 h 98"/>
                <a:gd name="T4" fmla="*/ 75 w 99"/>
                <a:gd name="T5" fmla="*/ 18 h 98"/>
                <a:gd name="T6" fmla="*/ 59 w 99"/>
                <a:gd name="T7" fmla="*/ 34 h 98"/>
                <a:gd name="T8" fmla="*/ 33 w 99"/>
                <a:gd name="T9" fmla="*/ 44 h 98"/>
                <a:gd name="T10" fmla="*/ 17 w 99"/>
                <a:gd name="T11" fmla="*/ 82 h 98"/>
                <a:gd name="T12" fmla="*/ 55 w 99"/>
                <a:gd name="T13" fmla="*/ 66 h 98"/>
                <a:gd name="T14" fmla="*/ 65 w 99"/>
                <a:gd name="T15" fmla="*/ 40 h 98"/>
                <a:gd name="T16" fmla="*/ 81 w 99"/>
                <a:gd name="T17" fmla="*/ 24 h 98"/>
                <a:gd name="T18" fmla="*/ 83 w 99"/>
                <a:gd name="T19" fmla="*/ 26 h 98"/>
                <a:gd name="T20" fmla="*/ 99 w 99"/>
                <a:gd name="T21" fmla="*/ 10 h 98"/>
                <a:gd name="T22" fmla="*/ 89 w 99"/>
                <a:gd name="T2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98">
                  <a:moveTo>
                    <a:pt x="89" y="0"/>
                  </a:moveTo>
                  <a:cubicBezTo>
                    <a:pt x="73" y="16"/>
                    <a:pt x="73" y="16"/>
                    <a:pt x="73" y="16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47" y="26"/>
                    <a:pt x="34" y="32"/>
                    <a:pt x="33" y="44"/>
                  </a:cubicBezTo>
                  <a:cubicBezTo>
                    <a:pt x="8" y="39"/>
                    <a:pt x="0" y="66"/>
                    <a:pt x="17" y="82"/>
                  </a:cubicBezTo>
                  <a:cubicBezTo>
                    <a:pt x="33" y="98"/>
                    <a:pt x="60" y="91"/>
                    <a:pt x="55" y="66"/>
                  </a:cubicBezTo>
                  <a:cubicBezTo>
                    <a:pt x="67" y="65"/>
                    <a:pt x="72" y="51"/>
                    <a:pt x="65" y="40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99" y="10"/>
                    <a:pt x="99" y="10"/>
                    <a:pt x="99" y="10"/>
                  </a:cubicBezTo>
                  <a:lnTo>
                    <a:pt x="89" y="0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3" name="Line 90">
              <a:extLst>
                <a:ext uri="{FF2B5EF4-FFF2-40B4-BE49-F238E27FC236}">
                  <a16:creationId xmlns:a16="http://schemas.microsoft.com/office/drawing/2014/main" id="{F26C5750-D346-DE5C-3E81-8F82CD6D04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4826" y="2895601"/>
              <a:ext cx="14288" cy="15875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4" name="Line 91">
              <a:extLst>
                <a:ext uri="{FF2B5EF4-FFF2-40B4-BE49-F238E27FC236}">
                  <a16:creationId xmlns:a16="http://schemas.microsoft.com/office/drawing/2014/main" id="{4F73B299-772F-E259-7D34-1CF058BAEE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92601" y="2917826"/>
              <a:ext cx="14288" cy="15875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5" name="Line 92">
              <a:extLst>
                <a:ext uri="{FF2B5EF4-FFF2-40B4-BE49-F238E27FC236}">
                  <a16:creationId xmlns:a16="http://schemas.microsoft.com/office/drawing/2014/main" id="{398E356F-0DDF-C02C-AAB8-F8803F3169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367214" y="2947988"/>
              <a:ext cx="14288" cy="15875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6" name="Line 93">
              <a:extLst>
                <a:ext uri="{FF2B5EF4-FFF2-40B4-BE49-F238E27FC236}">
                  <a16:creationId xmlns:a16="http://schemas.microsoft.com/office/drawing/2014/main" id="{74B40DF8-E3F9-FDD9-968D-6342EF19F9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344989" y="2970213"/>
              <a:ext cx="14288" cy="15875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07" name="Group 1206">
            <a:extLst>
              <a:ext uri="{FF2B5EF4-FFF2-40B4-BE49-F238E27FC236}">
                <a16:creationId xmlns:a16="http://schemas.microsoft.com/office/drawing/2014/main" id="{482E2606-BA30-5F4B-8D14-98CA5F3EB67C}"/>
              </a:ext>
            </a:extLst>
          </p:cNvPr>
          <p:cNvGrpSpPr>
            <a:grpSpLocks noChangeAspect="1"/>
          </p:cNvGrpSpPr>
          <p:nvPr/>
        </p:nvGrpSpPr>
        <p:grpSpPr>
          <a:xfrm>
            <a:off x="6793325" y="3942365"/>
            <a:ext cx="252000" cy="202666"/>
            <a:chOff x="5497514" y="2219326"/>
            <a:chExt cx="300038" cy="241300"/>
          </a:xfrm>
        </p:grpSpPr>
        <p:sp>
          <p:nvSpPr>
            <p:cNvPr id="1208" name="Freeform 165">
              <a:extLst>
                <a:ext uri="{FF2B5EF4-FFF2-40B4-BE49-F238E27FC236}">
                  <a16:creationId xmlns:a16="http://schemas.microsoft.com/office/drawing/2014/main" id="{0022C368-B8AE-8CE0-C83B-5272CB35E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7514" y="2235201"/>
              <a:ext cx="300038" cy="225425"/>
            </a:xfrm>
            <a:custGeom>
              <a:avLst/>
              <a:gdLst>
                <a:gd name="T0" fmla="*/ 29 w 189"/>
                <a:gd name="T1" fmla="*/ 0 h 142"/>
                <a:gd name="T2" fmla="*/ 0 w 189"/>
                <a:gd name="T3" fmla="*/ 0 h 142"/>
                <a:gd name="T4" fmla="*/ 0 w 189"/>
                <a:gd name="T5" fmla="*/ 142 h 142"/>
                <a:gd name="T6" fmla="*/ 189 w 189"/>
                <a:gd name="T7" fmla="*/ 142 h 142"/>
                <a:gd name="T8" fmla="*/ 189 w 189"/>
                <a:gd name="T9" fmla="*/ 0 h 142"/>
                <a:gd name="T10" fmla="*/ 161 w 189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9" h="142">
                  <a:moveTo>
                    <a:pt x="29" y="0"/>
                  </a:moveTo>
                  <a:lnTo>
                    <a:pt x="0" y="0"/>
                  </a:lnTo>
                  <a:lnTo>
                    <a:pt x="0" y="142"/>
                  </a:lnTo>
                  <a:lnTo>
                    <a:pt x="189" y="142"/>
                  </a:lnTo>
                  <a:lnTo>
                    <a:pt x="189" y="0"/>
                  </a:lnTo>
                  <a:lnTo>
                    <a:pt x="161" y="0"/>
                  </a:lnTo>
                </a:path>
              </a:pathLst>
            </a:cu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9" name="Line 166">
              <a:extLst>
                <a:ext uri="{FF2B5EF4-FFF2-40B4-BE49-F238E27FC236}">
                  <a16:creationId xmlns:a16="http://schemas.microsoft.com/office/drawing/2014/main" id="{2953877E-1465-3ED9-E5A3-0F521A2D85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7839" y="2370138"/>
              <a:ext cx="0" cy="90488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0" name="Line 167">
              <a:extLst>
                <a:ext uri="{FF2B5EF4-FFF2-40B4-BE49-F238E27FC236}">
                  <a16:creationId xmlns:a16="http://schemas.microsoft.com/office/drawing/2014/main" id="{268E60C5-6388-6EBB-D3D4-A47FF83594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8489" y="2370138"/>
              <a:ext cx="0" cy="90488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1" name="Line 168">
              <a:extLst>
                <a:ext uri="{FF2B5EF4-FFF2-40B4-BE49-F238E27FC236}">
                  <a16:creationId xmlns:a16="http://schemas.microsoft.com/office/drawing/2014/main" id="{37C3A495-B01E-C1EF-4CC8-E3F359709A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8164" y="2370138"/>
              <a:ext cx="0" cy="90488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2" name="Rectangle 169">
              <a:extLst>
                <a:ext uri="{FF2B5EF4-FFF2-40B4-BE49-F238E27FC236}">
                  <a16:creationId xmlns:a16="http://schemas.microsoft.com/office/drawing/2014/main" id="{D2DAEEA9-EA3F-B6BE-596E-0DF12FF61D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2289" y="2219326"/>
              <a:ext cx="30163" cy="150813"/>
            </a:xfrm>
            <a:prstGeom prst="rect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3" name="Rectangle 170">
              <a:extLst>
                <a:ext uri="{FF2B5EF4-FFF2-40B4-BE49-F238E27FC236}">
                  <a16:creationId xmlns:a16="http://schemas.microsoft.com/office/drawing/2014/main" id="{7ADC4997-1AC9-C461-256E-7FAEADFD7D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2614" y="2219326"/>
              <a:ext cx="30163" cy="150813"/>
            </a:xfrm>
            <a:prstGeom prst="rect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4" name="Rectangle 171">
              <a:extLst>
                <a:ext uri="{FF2B5EF4-FFF2-40B4-BE49-F238E27FC236}">
                  <a16:creationId xmlns:a16="http://schemas.microsoft.com/office/drawing/2014/main" id="{CCEF2307-7DAC-E8D6-BB58-0072FC08C3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2939" y="2219326"/>
              <a:ext cx="30163" cy="150813"/>
            </a:xfrm>
            <a:prstGeom prst="rect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5" name="Rectangle 172">
              <a:extLst>
                <a:ext uri="{FF2B5EF4-FFF2-40B4-BE49-F238E27FC236}">
                  <a16:creationId xmlns:a16="http://schemas.microsoft.com/office/drawing/2014/main" id="{7317E1E0-0E85-0809-6193-D8D2AE0404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3551" y="2219326"/>
              <a:ext cx="28575" cy="150813"/>
            </a:xfrm>
            <a:prstGeom prst="rect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6" name="Line 173">
              <a:extLst>
                <a:ext uri="{FF2B5EF4-FFF2-40B4-BE49-F238E27FC236}">
                  <a16:creationId xmlns:a16="http://schemas.microsoft.com/office/drawing/2014/main" id="{467D4A31-016B-60CF-875B-E7F8F0301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38814" y="2370138"/>
              <a:ext cx="0" cy="90488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7" name="Line 174">
              <a:extLst>
                <a:ext uri="{FF2B5EF4-FFF2-40B4-BE49-F238E27FC236}">
                  <a16:creationId xmlns:a16="http://schemas.microsoft.com/office/drawing/2014/main" id="{7F985913-6DAC-5340-31E6-86D3B52435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92776" y="2235201"/>
              <a:ext cx="30163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8" name="Line 175">
              <a:extLst>
                <a:ext uri="{FF2B5EF4-FFF2-40B4-BE49-F238E27FC236}">
                  <a16:creationId xmlns:a16="http://schemas.microsoft.com/office/drawing/2014/main" id="{358B8706-1FFE-2347-424D-CF45CB8E684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32451" y="2235201"/>
              <a:ext cx="30163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9" name="Line 176">
              <a:extLst>
                <a:ext uri="{FF2B5EF4-FFF2-40B4-BE49-F238E27FC236}">
                  <a16:creationId xmlns:a16="http://schemas.microsoft.com/office/drawing/2014/main" id="{9FBFDABB-A032-1B8C-6857-AB02E24389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72126" y="2235201"/>
              <a:ext cx="30163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20" name="Group 1219">
            <a:extLst>
              <a:ext uri="{FF2B5EF4-FFF2-40B4-BE49-F238E27FC236}">
                <a16:creationId xmlns:a16="http://schemas.microsoft.com/office/drawing/2014/main" id="{1B94AA46-707D-64C0-9E4C-D87BF1FF7259}"/>
              </a:ext>
            </a:extLst>
          </p:cNvPr>
          <p:cNvGrpSpPr>
            <a:grpSpLocks noChangeAspect="1"/>
          </p:cNvGrpSpPr>
          <p:nvPr/>
        </p:nvGrpSpPr>
        <p:grpSpPr>
          <a:xfrm>
            <a:off x="11104739" y="2084587"/>
            <a:ext cx="252000" cy="186110"/>
            <a:chOff x="4040189" y="2219326"/>
            <a:chExt cx="346075" cy="255588"/>
          </a:xfrm>
        </p:grpSpPr>
        <p:sp>
          <p:nvSpPr>
            <p:cNvPr id="1221" name="Freeform 281">
              <a:extLst>
                <a:ext uri="{FF2B5EF4-FFF2-40B4-BE49-F238E27FC236}">
                  <a16:creationId xmlns:a16="http://schemas.microsoft.com/office/drawing/2014/main" id="{726CBB50-9429-F5CA-376A-E8C8FE167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0189" y="2370138"/>
              <a:ext cx="30163" cy="60325"/>
            </a:xfrm>
            <a:custGeom>
              <a:avLst/>
              <a:gdLst>
                <a:gd name="T0" fmla="*/ 8 w 8"/>
                <a:gd name="T1" fmla="*/ 16 h 16"/>
                <a:gd name="T2" fmla="*/ 0 w 8"/>
                <a:gd name="T3" fmla="*/ 8 h 16"/>
                <a:gd name="T4" fmla="*/ 8 w 8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</a:path>
              </a:pathLst>
            </a:cu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2" name="Freeform 282">
              <a:extLst>
                <a:ext uri="{FF2B5EF4-FFF2-40B4-BE49-F238E27FC236}">
                  <a16:creationId xmlns:a16="http://schemas.microsoft.com/office/drawing/2014/main" id="{1FF059DC-77E6-03A3-51B5-0052CBFAC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1" y="2324101"/>
              <a:ext cx="60325" cy="150813"/>
            </a:xfrm>
            <a:custGeom>
              <a:avLst/>
              <a:gdLst>
                <a:gd name="T0" fmla="*/ 16 w 16"/>
                <a:gd name="T1" fmla="*/ 40 h 40"/>
                <a:gd name="T2" fmla="*/ 8 w 16"/>
                <a:gd name="T3" fmla="*/ 40 h 40"/>
                <a:gd name="T4" fmla="*/ 0 w 16"/>
                <a:gd name="T5" fmla="*/ 32 h 40"/>
                <a:gd name="T6" fmla="*/ 0 w 16"/>
                <a:gd name="T7" fmla="*/ 8 h 40"/>
                <a:gd name="T8" fmla="*/ 8 w 16"/>
                <a:gd name="T9" fmla="*/ 0 h 40"/>
                <a:gd name="T10" fmla="*/ 16 w 16"/>
                <a:gd name="T11" fmla="*/ 0 h 40"/>
                <a:gd name="T12" fmla="*/ 16 w 16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0">
                  <a:moveTo>
                    <a:pt x="16" y="40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4" y="40"/>
                    <a:pt x="0" y="36"/>
                    <a:pt x="0" y="3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40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3" name="Freeform 283">
              <a:extLst>
                <a:ext uri="{FF2B5EF4-FFF2-40B4-BE49-F238E27FC236}">
                  <a16:creationId xmlns:a16="http://schemas.microsoft.com/office/drawing/2014/main" id="{60046899-DCD5-E65F-3A00-C3BA27793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6101" y="2370138"/>
              <a:ext cx="30163" cy="60325"/>
            </a:xfrm>
            <a:custGeom>
              <a:avLst/>
              <a:gdLst>
                <a:gd name="T0" fmla="*/ 0 w 8"/>
                <a:gd name="T1" fmla="*/ 16 h 16"/>
                <a:gd name="T2" fmla="*/ 8 w 8"/>
                <a:gd name="T3" fmla="*/ 8 h 16"/>
                <a:gd name="T4" fmla="*/ 0 w 8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6">
                  <a:moveTo>
                    <a:pt x="0" y="16"/>
                  </a:moveTo>
                  <a:cubicBezTo>
                    <a:pt x="4" y="16"/>
                    <a:pt x="8" y="12"/>
                    <a:pt x="8" y="8"/>
                  </a:cubicBezTo>
                  <a:cubicBezTo>
                    <a:pt x="8" y="4"/>
                    <a:pt x="4" y="0"/>
                    <a:pt x="0" y="0"/>
                  </a:cubicBezTo>
                </a:path>
              </a:pathLst>
            </a:cu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4" name="Freeform 284">
              <a:extLst>
                <a:ext uri="{FF2B5EF4-FFF2-40B4-BE49-F238E27FC236}">
                  <a16:creationId xmlns:a16="http://schemas.microsoft.com/office/drawing/2014/main" id="{500503E3-66C0-BA28-9995-01560C0EA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6" y="2324101"/>
              <a:ext cx="60325" cy="150813"/>
            </a:xfrm>
            <a:custGeom>
              <a:avLst/>
              <a:gdLst>
                <a:gd name="T0" fmla="*/ 0 w 16"/>
                <a:gd name="T1" fmla="*/ 40 h 40"/>
                <a:gd name="T2" fmla="*/ 8 w 16"/>
                <a:gd name="T3" fmla="*/ 40 h 40"/>
                <a:gd name="T4" fmla="*/ 16 w 16"/>
                <a:gd name="T5" fmla="*/ 32 h 40"/>
                <a:gd name="T6" fmla="*/ 16 w 16"/>
                <a:gd name="T7" fmla="*/ 8 h 40"/>
                <a:gd name="T8" fmla="*/ 8 w 16"/>
                <a:gd name="T9" fmla="*/ 0 h 40"/>
                <a:gd name="T10" fmla="*/ 0 w 16"/>
                <a:gd name="T11" fmla="*/ 0 h 40"/>
                <a:gd name="T12" fmla="*/ 0 w 16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0">
                  <a:moveTo>
                    <a:pt x="0" y="40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12" y="40"/>
                    <a:pt x="16" y="36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0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5" name="Freeform 285">
              <a:extLst>
                <a:ext uri="{FF2B5EF4-FFF2-40B4-BE49-F238E27FC236}">
                  <a16:creationId xmlns:a16="http://schemas.microsoft.com/office/drawing/2014/main" id="{721728D1-29FD-33A3-42E2-8C02ECC73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8451" y="2219326"/>
              <a:ext cx="209550" cy="104775"/>
            </a:xfrm>
            <a:custGeom>
              <a:avLst/>
              <a:gdLst>
                <a:gd name="T0" fmla="*/ 0 w 56"/>
                <a:gd name="T1" fmla="*/ 28 h 28"/>
                <a:gd name="T2" fmla="*/ 28 w 56"/>
                <a:gd name="T3" fmla="*/ 0 h 28"/>
                <a:gd name="T4" fmla="*/ 56 w 56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28">
                  <a:moveTo>
                    <a:pt x="0" y="28"/>
                  </a:moveTo>
                  <a:cubicBezTo>
                    <a:pt x="0" y="13"/>
                    <a:pt x="13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</a:path>
              </a:pathLst>
            </a:custGeom>
            <a:noFill/>
            <a:ln w="952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226" name="TextBox 1225">
            <a:extLst>
              <a:ext uri="{FF2B5EF4-FFF2-40B4-BE49-F238E27FC236}">
                <a16:creationId xmlns:a16="http://schemas.microsoft.com/office/drawing/2014/main" id="{D45C051D-0D18-BDD8-BB67-A1C49720C92E}"/>
              </a:ext>
            </a:extLst>
          </p:cNvPr>
          <p:cNvSpPr txBox="1"/>
          <p:nvPr/>
        </p:nvSpPr>
        <p:spPr>
          <a:xfrm>
            <a:off x="4444227" y="5223150"/>
            <a:ext cx="2718118" cy="7105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 listener data to create personalized ads that resonate with user preferences.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27" name="TextBox 1226">
            <a:extLst>
              <a:ext uri="{FF2B5EF4-FFF2-40B4-BE49-F238E27FC236}">
                <a16:creationId xmlns:a16="http://schemas.microsoft.com/office/drawing/2014/main" id="{60033A3C-B05E-A216-B39F-360F1D8BFB62}"/>
              </a:ext>
            </a:extLst>
          </p:cNvPr>
          <p:cNvSpPr txBox="1"/>
          <p:nvPr/>
        </p:nvSpPr>
        <p:spPr>
          <a:xfrm>
            <a:off x="8778240" y="5223150"/>
            <a:ext cx="2718118" cy="71053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 interactive ads like quizzes and polls to boost user interaction and retention.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38" name="Straight Connector 1237">
            <a:extLst>
              <a:ext uri="{FF2B5EF4-FFF2-40B4-BE49-F238E27FC236}">
                <a16:creationId xmlns:a16="http://schemas.microsoft.com/office/drawing/2014/main" id="{2647AEAC-607B-22AA-2152-0BCA0841C5DD}"/>
              </a:ext>
            </a:extLst>
          </p:cNvPr>
          <p:cNvCxnSpPr/>
          <p:nvPr/>
        </p:nvCxnSpPr>
        <p:spPr>
          <a:xfrm>
            <a:off x="4272449" y="5315783"/>
            <a:ext cx="0" cy="525272"/>
          </a:xfrm>
          <a:prstGeom prst="line">
            <a:avLst/>
          </a:prstGeom>
          <a:ln>
            <a:solidFill>
              <a:srgbClr val="1DB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9" name="Straight Connector 1238">
            <a:extLst>
              <a:ext uri="{FF2B5EF4-FFF2-40B4-BE49-F238E27FC236}">
                <a16:creationId xmlns:a16="http://schemas.microsoft.com/office/drawing/2014/main" id="{DB32BA03-AFC3-95C3-E7DB-56C69CFC2776}"/>
              </a:ext>
            </a:extLst>
          </p:cNvPr>
          <p:cNvCxnSpPr/>
          <p:nvPr/>
        </p:nvCxnSpPr>
        <p:spPr>
          <a:xfrm>
            <a:off x="8613220" y="5315783"/>
            <a:ext cx="0" cy="525272"/>
          </a:xfrm>
          <a:prstGeom prst="line">
            <a:avLst/>
          </a:prstGeom>
          <a:ln>
            <a:solidFill>
              <a:srgbClr val="1DB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0" name="Group 1239">
            <a:extLst>
              <a:ext uri="{FF2B5EF4-FFF2-40B4-BE49-F238E27FC236}">
                <a16:creationId xmlns:a16="http://schemas.microsoft.com/office/drawing/2014/main" id="{23D0EAC8-7376-E116-A84D-157BF44A024E}"/>
              </a:ext>
            </a:extLst>
          </p:cNvPr>
          <p:cNvGrpSpPr>
            <a:grpSpLocks noChangeAspect="1"/>
          </p:cNvGrpSpPr>
          <p:nvPr/>
        </p:nvGrpSpPr>
        <p:grpSpPr>
          <a:xfrm>
            <a:off x="3754914" y="5369619"/>
            <a:ext cx="417600" cy="417600"/>
            <a:chOff x="6203951" y="3616326"/>
            <a:chExt cx="346075" cy="346075"/>
          </a:xfrm>
        </p:grpSpPr>
        <p:sp>
          <p:nvSpPr>
            <p:cNvPr id="1241" name="Oval 122">
              <a:extLst>
                <a:ext uri="{FF2B5EF4-FFF2-40B4-BE49-F238E27FC236}">
                  <a16:creationId xmlns:a16="http://schemas.microsoft.com/office/drawing/2014/main" id="{CC338D9D-C115-7788-CBB2-EFD4F93D8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3616326"/>
              <a:ext cx="346075" cy="346075"/>
            </a:xfrm>
            <a:prstGeom prst="ellips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2" name="Freeform 123">
              <a:extLst>
                <a:ext uri="{FF2B5EF4-FFF2-40B4-BE49-F238E27FC236}">
                  <a16:creationId xmlns:a16="http://schemas.microsoft.com/office/drawing/2014/main" id="{1A4D8E17-0E13-96F5-9E4F-403162228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3722688"/>
              <a:ext cx="134938" cy="134938"/>
            </a:xfrm>
            <a:custGeom>
              <a:avLst/>
              <a:gdLst>
                <a:gd name="T0" fmla="*/ 0 w 85"/>
                <a:gd name="T1" fmla="*/ 85 h 85"/>
                <a:gd name="T2" fmla="*/ 0 w 85"/>
                <a:gd name="T3" fmla="*/ 0 h 85"/>
                <a:gd name="T4" fmla="*/ 85 w 85"/>
                <a:gd name="T5" fmla="*/ 42 h 85"/>
                <a:gd name="T6" fmla="*/ 0 w 85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85">
                  <a:moveTo>
                    <a:pt x="0" y="85"/>
                  </a:moveTo>
                  <a:lnTo>
                    <a:pt x="0" y="0"/>
                  </a:lnTo>
                  <a:lnTo>
                    <a:pt x="85" y="42"/>
                  </a:lnTo>
                  <a:lnTo>
                    <a:pt x="0" y="85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43" name="Group 1242">
            <a:extLst>
              <a:ext uri="{FF2B5EF4-FFF2-40B4-BE49-F238E27FC236}">
                <a16:creationId xmlns:a16="http://schemas.microsoft.com/office/drawing/2014/main" id="{019FBF29-A6B4-6173-1FF8-0A7AF7E428A1}"/>
              </a:ext>
            </a:extLst>
          </p:cNvPr>
          <p:cNvGrpSpPr>
            <a:grpSpLocks noChangeAspect="1"/>
          </p:cNvGrpSpPr>
          <p:nvPr/>
        </p:nvGrpSpPr>
        <p:grpSpPr>
          <a:xfrm>
            <a:off x="8102442" y="5369619"/>
            <a:ext cx="415685" cy="417600"/>
            <a:chOff x="7646989" y="3616326"/>
            <a:chExt cx="344488" cy="346075"/>
          </a:xfrm>
        </p:grpSpPr>
        <p:sp>
          <p:nvSpPr>
            <p:cNvPr id="1244" name="Oval 132">
              <a:extLst>
                <a:ext uri="{FF2B5EF4-FFF2-40B4-BE49-F238E27FC236}">
                  <a16:creationId xmlns:a16="http://schemas.microsoft.com/office/drawing/2014/main" id="{AFDDF382-7D72-CFD3-7FC1-A3F0F10563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6989" y="3616326"/>
              <a:ext cx="344488" cy="346075"/>
            </a:xfrm>
            <a:prstGeom prst="ellipse">
              <a:avLst/>
            </a:prstGeom>
            <a:noFill/>
            <a:ln w="14288" cap="rnd">
              <a:solidFill>
                <a:srgbClr val="1DB9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5" name="Rectangle 133">
              <a:extLst>
                <a:ext uri="{FF2B5EF4-FFF2-40B4-BE49-F238E27FC236}">
                  <a16:creationId xmlns:a16="http://schemas.microsoft.com/office/drawing/2014/main" id="{A86218A2-E9E2-F99E-525B-F5FDBCB1D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6539" y="3722688"/>
              <a:ext cx="30163" cy="1349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6" name="Freeform 134">
              <a:extLst>
                <a:ext uri="{FF2B5EF4-FFF2-40B4-BE49-F238E27FC236}">
                  <a16:creationId xmlns:a16="http://schemas.microsoft.com/office/drawing/2014/main" id="{54054D33-B24B-DAF1-4D79-B8A0E15D3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1764" y="3722688"/>
              <a:ext cx="74613" cy="134938"/>
            </a:xfrm>
            <a:custGeom>
              <a:avLst/>
              <a:gdLst>
                <a:gd name="T0" fmla="*/ 0 w 47"/>
                <a:gd name="T1" fmla="*/ 85 h 85"/>
                <a:gd name="T2" fmla="*/ 47 w 47"/>
                <a:gd name="T3" fmla="*/ 42 h 85"/>
                <a:gd name="T4" fmla="*/ 0 w 47"/>
                <a:gd name="T5" fmla="*/ 0 h 85"/>
                <a:gd name="T6" fmla="*/ 0 w 4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85">
                  <a:moveTo>
                    <a:pt x="0" y="85"/>
                  </a:moveTo>
                  <a:lnTo>
                    <a:pt x="47" y="42"/>
                  </a:lnTo>
                  <a:lnTo>
                    <a:pt x="0" y="0"/>
                  </a:lnTo>
                  <a:lnTo>
                    <a:pt x="0" y="85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7" name="Picture 6" descr="Shape&#10;&#10;Description automatically generated with low confidence">
            <a:extLst>
              <a:ext uri="{FF2B5EF4-FFF2-40B4-BE49-F238E27FC236}">
                <a16:creationId xmlns:a16="http://schemas.microsoft.com/office/drawing/2014/main" id="{41E184CA-388A-2B6D-B6D1-3ACAC72216F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09" y="3094029"/>
            <a:ext cx="258819" cy="258819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57B84FC1-C973-D19B-DCED-366446466CD1}"/>
              </a:ext>
            </a:extLst>
          </p:cNvPr>
          <p:cNvGrpSpPr>
            <a:grpSpLocks noChangeAspect="1"/>
          </p:cNvGrpSpPr>
          <p:nvPr/>
        </p:nvGrpSpPr>
        <p:grpSpPr>
          <a:xfrm>
            <a:off x="622921" y="3606155"/>
            <a:ext cx="191537" cy="276523"/>
            <a:chOff x="3379789" y="1452563"/>
            <a:chExt cx="239713" cy="346075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3AEECE9-4DFB-53DD-D598-D72DBBE34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1452563"/>
              <a:ext cx="179388" cy="271463"/>
            </a:xfrm>
            <a:custGeom>
              <a:avLst/>
              <a:gdLst>
                <a:gd name="T0" fmla="*/ 48 w 48"/>
                <a:gd name="T1" fmla="*/ 48 h 72"/>
                <a:gd name="T2" fmla="*/ 24 w 48"/>
                <a:gd name="T3" fmla="*/ 72 h 72"/>
                <a:gd name="T4" fmla="*/ 0 w 48"/>
                <a:gd name="T5" fmla="*/ 48 h 72"/>
                <a:gd name="T6" fmla="*/ 0 w 48"/>
                <a:gd name="T7" fmla="*/ 24 h 72"/>
                <a:gd name="T8" fmla="*/ 24 w 48"/>
                <a:gd name="T9" fmla="*/ 0 h 72"/>
                <a:gd name="T10" fmla="*/ 48 w 48"/>
                <a:gd name="T11" fmla="*/ 24 h 72"/>
                <a:gd name="T12" fmla="*/ 48 w 48"/>
                <a:gd name="T1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2">
                  <a:moveTo>
                    <a:pt x="48" y="48"/>
                  </a:moveTo>
                  <a:cubicBezTo>
                    <a:pt x="48" y="61"/>
                    <a:pt x="37" y="72"/>
                    <a:pt x="24" y="72"/>
                  </a:cubicBezTo>
                  <a:cubicBezTo>
                    <a:pt x="11" y="72"/>
                    <a:pt x="0" y="61"/>
                    <a:pt x="0" y="4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lnTo>
                    <a:pt x="48" y="48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0AA1C94-F512-6BB4-AD3A-24B0DA994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9" y="1603376"/>
              <a:ext cx="239713" cy="150813"/>
            </a:xfrm>
            <a:custGeom>
              <a:avLst/>
              <a:gdLst>
                <a:gd name="T0" fmla="*/ 0 w 64"/>
                <a:gd name="T1" fmla="*/ 0 h 40"/>
                <a:gd name="T2" fmla="*/ 0 w 64"/>
                <a:gd name="T3" fmla="*/ 8 h 40"/>
                <a:gd name="T4" fmla="*/ 32 w 64"/>
                <a:gd name="T5" fmla="*/ 40 h 40"/>
                <a:gd name="T6" fmla="*/ 64 w 64"/>
                <a:gd name="T7" fmla="*/ 8 h 40"/>
                <a:gd name="T8" fmla="*/ 64 w 6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26"/>
                    <a:pt x="14" y="40"/>
                    <a:pt x="32" y="40"/>
                  </a:cubicBezTo>
                  <a:cubicBezTo>
                    <a:pt x="50" y="40"/>
                    <a:pt x="64" y="26"/>
                    <a:pt x="64" y="8"/>
                  </a:cubicBezTo>
                  <a:cubicBezTo>
                    <a:pt x="64" y="0"/>
                    <a:pt x="64" y="0"/>
                    <a:pt x="64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Line 7">
              <a:extLst>
                <a:ext uri="{FF2B5EF4-FFF2-40B4-BE49-F238E27FC236}">
                  <a16:creationId xmlns:a16="http://schemas.microsoft.com/office/drawing/2014/main" id="{97A1D2A1-7B8C-37D1-F528-2237560789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754188"/>
              <a:ext cx="0" cy="4445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Line 8">
              <a:extLst>
                <a:ext uri="{FF2B5EF4-FFF2-40B4-BE49-F238E27FC236}">
                  <a16:creationId xmlns:a16="http://schemas.microsoft.com/office/drawing/2014/main" id="{94E5A30D-FDF1-91EC-409E-8805225F91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1" y="1452563"/>
              <a:ext cx="0" cy="46038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9">
              <a:extLst>
                <a:ext uri="{FF2B5EF4-FFF2-40B4-BE49-F238E27FC236}">
                  <a16:creationId xmlns:a16="http://schemas.microsoft.com/office/drawing/2014/main" id="{4F7A0882-3902-135F-C7E5-A99618F1F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014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0">
              <a:extLst>
                <a:ext uri="{FF2B5EF4-FFF2-40B4-BE49-F238E27FC236}">
                  <a16:creationId xmlns:a16="http://schemas.microsoft.com/office/drawing/2014/main" id="{C4ECB292-8453-980E-6F4E-5CE62FC66C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689" y="1457326"/>
              <a:ext cx="0" cy="412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11">
              <a:extLst>
                <a:ext uri="{FF2B5EF4-FFF2-40B4-BE49-F238E27FC236}">
                  <a16:creationId xmlns:a16="http://schemas.microsoft.com/office/drawing/2014/main" id="{0FC3C62F-A822-6D9C-F7E6-C6157BCBF7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9" y="1633538"/>
              <a:ext cx="2397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12">
              <a:extLst>
                <a:ext uri="{FF2B5EF4-FFF2-40B4-BE49-F238E27FC236}">
                  <a16:creationId xmlns:a16="http://schemas.microsoft.com/office/drawing/2014/main" id="{2F1597EC-E1EF-A8AC-400D-C664B29BF3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43051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Line 13">
              <a:extLst>
                <a:ext uri="{FF2B5EF4-FFF2-40B4-BE49-F238E27FC236}">
                  <a16:creationId xmlns:a16="http://schemas.microsoft.com/office/drawing/2014/main" id="{DB7579E6-A613-E720-90D2-1BC88FEEB9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573213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Line 14">
              <a:extLst>
                <a:ext uri="{FF2B5EF4-FFF2-40B4-BE49-F238E27FC236}">
                  <a16:creationId xmlns:a16="http://schemas.microsoft.com/office/drawing/2014/main" id="{750A4D13-CCBE-CCAB-526D-E16C6ADDCA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43051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Line 15">
              <a:extLst>
                <a:ext uri="{FF2B5EF4-FFF2-40B4-BE49-F238E27FC236}">
                  <a16:creationId xmlns:a16="http://schemas.microsoft.com/office/drawing/2014/main" id="{1FD7B190-3D6E-5ABA-143D-905BB7376A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573213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16">
              <a:extLst>
                <a:ext uri="{FF2B5EF4-FFF2-40B4-BE49-F238E27FC236}">
                  <a16:creationId xmlns:a16="http://schemas.microsoft.com/office/drawing/2014/main" id="{AC7A172D-E7D5-A383-8EFB-D733E33B08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9951" y="1603376"/>
              <a:ext cx="58738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Line 17">
              <a:extLst>
                <a:ext uri="{FF2B5EF4-FFF2-40B4-BE49-F238E27FC236}">
                  <a16:creationId xmlns:a16="http://schemas.microsoft.com/office/drawing/2014/main" id="{E7B0B198-52CA-0DDE-7C85-6D5DDD72FD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9014" y="1603376"/>
              <a:ext cx="603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49AC35B-E965-00FC-8101-0667EBACDB76}"/>
              </a:ext>
            </a:extLst>
          </p:cNvPr>
          <p:cNvSpPr txBox="1"/>
          <p:nvPr/>
        </p:nvSpPr>
        <p:spPr>
          <a:xfrm>
            <a:off x="443273" y="2361050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r Library</a:t>
            </a:r>
          </a:p>
        </p:txBody>
      </p:sp>
      <p:sp>
        <p:nvSpPr>
          <p:cNvPr id="1120" name="TextBox 1119">
            <a:extLst>
              <a:ext uri="{FF2B5EF4-FFF2-40B4-BE49-F238E27FC236}">
                <a16:creationId xmlns:a16="http://schemas.microsoft.com/office/drawing/2014/main" id="{ED9DFD82-D90E-2C2B-432F-AE8B1639FD80}"/>
              </a:ext>
            </a:extLst>
          </p:cNvPr>
          <p:cNvSpPr txBox="1"/>
          <p:nvPr/>
        </p:nvSpPr>
        <p:spPr>
          <a:xfrm>
            <a:off x="383220" y="4756975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clusion</a:t>
            </a:r>
          </a:p>
        </p:txBody>
      </p:sp>
      <p:grpSp>
        <p:nvGrpSpPr>
          <p:cNvPr id="1121" name="Group 1120">
            <a:extLst>
              <a:ext uri="{FF2B5EF4-FFF2-40B4-BE49-F238E27FC236}">
                <a16:creationId xmlns:a16="http://schemas.microsoft.com/office/drawing/2014/main" id="{7A5AC5C9-23C6-D193-BC83-FBA2BAF9AA30}"/>
              </a:ext>
            </a:extLst>
          </p:cNvPr>
          <p:cNvGrpSpPr/>
          <p:nvPr/>
        </p:nvGrpSpPr>
        <p:grpSpPr>
          <a:xfrm>
            <a:off x="604792" y="4149067"/>
            <a:ext cx="232655" cy="232655"/>
            <a:chOff x="6203951" y="2895601"/>
            <a:chExt cx="346075" cy="346075"/>
          </a:xfrm>
        </p:grpSpPr>
        <p:sp>
          <p:nvSpPr>
            <p:cNvPr id="1122" name="Freeform 197">
              <a:extLst>
                <a:ext uri="{FF2B5EF4-FFF2-40B4-BE49-F238E27FC236}">
                  <a16:creationId xmlns:a16="http://schemas.microsoft.com/office/drawing/2014/main" id="{01AB78C0-DC94-2D5C-F556-E7CCBD303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076576"/>
              <a:ext cx="60325" cy="58738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3" name="Freeform 198">
              <a:extLst>
                <a:ext uri="{FF2B5EF4-FFF2-40B4-BE49-F238E27FC236}">
                  <a16:creationId xmlns:a16="http://schemas.microsoft.com/office/drawing/2014/main" id="{B7D0BEAD-9B2C-A961-85CD-9EC014E50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2940051"/>
              <a:ext cx="90488" cy="150813"/>
            </a:xfrm>
            <a:custGeom>
              <a:avLst/>
              <a:gdLst>
                <a:gd name="T0" fmla="*/ 0 w 57"/>
                <a:gd name="T1" fmla="*/ 95 h 95"/>
                <a:gd name="T2" fmla="*/ 0 w 57"/>
                <a:gd name="T3" fmla="*/ 38 h 95"/>
                <a:gd name="T4" fmla="*/ 57 w 57"/>
                <a:gd name="T5" fmla="*/ 0 h 95"/>
                <a:gd name="T6" fmla="*/ 57 w 57"/>
                <a:gd name="T7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95">
                  <a:moveTo>
                    <a:pt x="0" y="95"/>
                  </a:moveTo>
                  <a:lnTo>
                    <a:pt x="0" y="38"/>
                  </a:lnTo>
                  <a:lnTo>
                    <a:pt x="57" y="0"/>
                  </a:lnTo>
                  <a:lnTo>
                    <a:pt x="57" y="7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4" name="Rectangle 199">
              <a:extLst>
                <a:ext uri="{FF2B5EF4-FFF2-40B4-BE49-F238E27FC236}">
                  <a16:creationId xmlns:a16="http://schemas.microsoft.com/office/drawing/2014/main" id="{10B21AF0-5C51-D450-CC67-4899CA446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3951" y="2895601"/>
              <a:ext cx="300038" cy="30003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5" name="Freeform 200">
              <a:extLst>
                <a:ext uri="{FF2B5EF4-FFF2-40B4-BE49-F238E27FC236}">
                  <a16:creationId xmlns:a16="http://schemas.microsoft.com/office/drawing/2014/main" id="{67331785-5E3F-B782-3AB0-D400ED5CA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1" y="2940051"/>
              <a:ext cx="301625" cy="301625"/>
            </a:xfrm>
            <a:custGeom>
              <a:avLst/>
              <a:gdLst>
                <a:gd name="T0" fmla="*/ 180 w 190"/>
                <a:gd name="T1" fmla="*/ 0 h 190"/>
                <a:gd name="T2" fmla="*/ 190 w 190"/>
                <a:gd name="T3" fmla="*/ 0 h 190"/>
                <a:gd name="T4" fmla="*/ 190 w 190"/>
                <a:gd name="T5" fmla="*/ 190 h 190"/>
                <a:gd name="T6" fmla="*/ 0 w 190"/>
                <a:gd name="T7" fmla="*/ 190 h 190"/>
                <a:gd name="T8" fmla="*/ 0 w 190"/>
                <a:gd name="T9" fmla="*/ 1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90">
                  <a:moveTo>
                    <a:pt x="180" y="0"/>
                  </a:moveTo>
                  <a:lnTo>
                    <a:pt x="190" y="0"/>
                  </a:lnTo>
                  <a:lnTo>
                    <a:pt x="190" y="190"/>
                  </a:lnTo>
                  <a:lnTo>
                    <a:pt x="0" y="190"/>
                  </a:lnTo>
                  <a:lnTo>
                    <a:pt x="0" y="180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6" name="Freeform 201">
              <a:extLst>
                <a:ext uri="{FF2B5EF4-FFF2-40B4-BE49-F238E27FC236}">
                  <a16:creationId xmlns:a16="http://schemas.microsoft.com/office/drawing/2014/main" id="{EF1DC94D-30F6-A81C-0B9A-6DAECFC9C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4" y="3046413"/>
              <a:ext cx="60325" cy="60325"/>
            </a:xfrm>
            <a:custGeom>
              <a:avLst/>
              <a:gdLst>
                <a:gd name="T0" fmla="*/ 16 w 16"/>
                <a:gd name="T1" fmla="*/ 12 h 16"/>
                <a:gd name="T2" fmla="*/ 8 w 16"/>
                <a:gd name="T3" fmla="*/ 16 h 16"/>
                <a:gd name="T4" fmla="*/ 0 w 16"/>
                <a:gd name="T5" fmla="*/ 8 h 16"/>
                <a:gd name="T6" fmla="*/ 8 w 16"/>
                <a:gd name="T7" fmla="*/ 0 h 16"/>
                <a:gd name="T8" fmla="*/ 16 w 16"/>
                <a:gd name="T9" fmla="*/ 0 h 16"/>
                <a:gd name="T10" fmla="*/ 16 w 16"/>
                <a:gd name="T1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12"/>
                  </a:moveTo>
                  <a:cubicBezTo>
                    <a:pt x="16" y="16"/>
                    <a:pt x="12" y="16"/>
                    <a:pt x="8" y="16"/>
                  </a:cubicBezTo>
                  <a:cubicBezTo>
                    <a:pt x="4" y="16"/>
                    <a:pt x="0" y="14"/>
                    <a:pt x="0" y="8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6" y="4"/>
                    <a:pt x="16" y="8"/>
                    <a:pt x="16" y="1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7" name="Group 1126">
            <a:extLst>
              <a:ext uri="{FF2B5EF4-FFF2-40B4-BE49-F238E27FC236}">
                <a16:creationId xmlns:a16="http://schemas.microsoft.com/office/drawing/2014/main" id="{033008D6-5BB8-9F4C-CAA9-7E0C565B33AB}"/>
              </a:ext>
            </a:extLst>
          </p:cNvPr>
          <p:cNvGrpSpPr/>
          <p:nvPr/>
        </p:nvGrpSpPr>
        <p:grpSpPr>
          <a:xfrm>
            <a:off x="608408" y="4785042"/>
            <a:ext cx="225423" cy="260013"/>
            <a:chOff x="5581651" y="2895601"/>
            <a:chExt cx="300038" cy="346076"/>
          </a:xfrm>
        </p:grpSpPr>
        <p:sp>
          <p:nvSpPr>
            <p:cNvPr id="1128" name="Oval 187">
              <a:extLst>
                <a:ext uri="{FF2B5EF4-FFF2-40B4-BE49-F238E27FC236}">
                  <a16:creationId xmlns:a16="http://schemas.microsoft.com/office/drawing/2014/main" id="{1ADC5C9F-586C-87D2-EDD2-05A3A86ED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751" y="3014664"/>
              <a:ext cx="225425" cy="22701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9" name="Oval 188">
              <a:extLst>
                <a:ext uri="{FF2B5EF4-FFF2-40B4-BE49-F238E27FC236}">
                  <a16:creationId xmlns:a16="http://schemas.microsoft.com/office/drawing/2014/main" id="{3A3131F3-9204-ACF0-81C0-F11E91F88F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301" y="3098801"/>
              <a:ext cx="58738" cy="5873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0" name="Oval 189">
              <a:extLst>
                <a:ext uri="{FF2B5EF4-FFF2-40B4-BE49-F238E27FC236}">
                  <a16:creationId xmlns:a16="http://schemas.microsoft.com/office/drawing/2014/main" id="{DCD35714-5859-81E7-B875-5F4D3FB75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3121026"/>
              <a:ext cx="14288" cy="1428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1" name="Freeform 190">
              <a:extLst>
                <a:ext uri="{FF2B5EF4-FFF2-40B4-BE49-F238E27FC236}">
                  <a16:creationId xmlns:a16="http://schemas.microsoft.com/office/drawing/2014/main" id="{475109A8-5BB9-C3FF-DE99-BEF1EA07E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463" y="3063876"/>
              <a:ext cx="63500" cy="6508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0" y="0"/>
                    <a:pt x="17" y="7"/>
                    <a:pt x="17" y="1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2" name="Freeform 191">
              <a:extLst>
                <a:ext uri="{FF2B5EF4-FFF2-40B4-BE49-F238E27FC236}">
                  <a16:creationId xmlns:a16="http://schemas.microsoft.com/office/drawing/2014/main" id="{579BEEB7-41E2-E360-AD0A-BCE3AF910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3128964"/>
              <a:ext cx="65088" cy="63500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7" y="17"/>
                    <a:pt x="0" y="10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3" name="Freeform 192">
              <a:extLst>
                <a:ext uri="{FF2B5EF4-FFF2-40B4-BE49-F238E27FC236}">
                  <a16:creationId xmlns:a16="http://schemas.microsoft.com/office/drawing/2014/main" id="{B226C2A6-7110-DF86-F6A4-DCF94D298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651" y="2895601"/>
              <a:ext cx="300038" cy="179388"/>
            </a:xfrm>
            <a:custGeom>
              <a:avLst/>
              <a:gdLst>
                <a:gd name="T0" fmla="*/ 67 w 80"/>
                <a:gd name="T1" fmla="*/ 48 h 48"/>
                <a:gd name="T2" fmla="*/ 68 w 80"/>
                <a:gd name="T3" fmla="*/ 18 h 48"/>
                <a:gd name="T4" fmla="*/ 56 w 80"/>
                <a:gd name="T5" fmla="*/ 26 h 48"/>
                <a:gd name="T6" fmla="*/ 48 w 80"/>
                <a:gd name="T7" fmla="*/ 0 h 48"/>
                <a:gd name="T8" fmla="*/ 28 w 80"/>
                <a:gd name="T9" fmla="*/ 26 h 48"/>
                <a:gd name="T10" fmla="*/ 12 w 80"/>
                <a:gd name="T11" fmla="*/ 18 h 48"/>
                <a:gd name="T12" fmla="*/ 13 w 80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8">
                  <a:moveTo>
                    <a:pt x="67" y="48"/>
                  </a:moveTo>
                  <a:cubicBezTo>
                    <a:pt x="80" y="38"/>
                    <a:pt x="68" y="18"/>
                    <a:pt x="68" y="18"/>
                  </a:cubicBezTo>
                  <a:cubicBezTo>
                    <a:pt x="68" y="18"/>
                    <a:pt x="60" y="26"/>
                    <a:pt x="56" y="26"/>
                  </a:cubicBezTo>
                  <a:cubicBezTo>
                    <a:pt x="56" y="10"/>
                    <a:pt x="44" y="18"/>
                    <a:pt x="48" y="0"/>
                  </a:cubicBezTo>
                  <a:cubicBezTo>
                    <a:pt x="31" y="3"/>
                    <a:pt x="24" y="10"/>
                    <a:pt x="28" y="26"/>
                  </a:cubicBezTo>
                  <a:cubicBezTo>
                    <a:pt x="20" y="26"/>
                    <a:pt x="12" y="18"/>
                    <a:pt x="12" y="18"/>
                  </a:cubicBezTo>
                  <a:cubicBezTo>
                    <a:pt x="12" y="18"/>
                    <a:pt x="0" y="34"/>
                    <a:pt x="13" y="47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8EBF7B64-B064-391C-BBC6-205F04DD890D}"/>
              </a:ext>
            </a:extLst>
          </p:cNvPr>
          <p:cNvSpPr txBox="1"/>
          <p:nvPr/>
        </p:nvSpPr>
        <p:spPr>
          <a:xfrm>
            <a:off x="383220" y="527795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ferenc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B13A6C7-B0EA-6D61-2EDE-7D7AB1A89D34}"/>
              </a:ext>
            </a:extLst>
          </p:cNvPr>
          <p:cNvSpPr txBox="1"/>
          <p:nvPr/>
        </p:nvSpPr>
        <p:spPr>
          <a:xfrm>
            <a:off x="383220" y="5798933"/>
            <a:ext cx="2296800" cy="366917"/>
          </a:xfrm>
          <a:prstGeom prst="roundRect">
            <a:avLst/>
          </a:prstGeom>
          <a:noFill/>
        </p:spPr>
        <p:txBody>
          <a:bodyPr wrap="none" lIns="684000" rtlCol="0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pic>
        <p:nvPicPr>
          <p:cNvPr id="42" name="Graphic 41" descr="Badge Question Mark outline">
            <a:extLst>
              <a:ext uri="{FF2B5EF4-FFF2-40B4-BE49-F238E27FC236}">
                <a16:creationId xmlns:a16="http://schemas.microsoft.com/office/drawing/2014/main" id="{DD68F11D-563B-1F63-93AA-9187360DC0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4295" y="5319251"/>
            <a:ext cx="284321" cy="284321"/>
          </a:xfrm>
          <a:prstGeom prst="rect">
            <a:avLst/>
          </a:prstGeom>
        </p:spPr>
      </p:pic>
      <p:pic>
        <p:nvPicPr>
          <p:cNvPr id="43" name="Graphic 42" descr="Customer review outline">
            <a:extLst>
              <a:ext uri="{FF2B5EF4-FFF2-40B4-BE49-F238E27FC236}">
                <a16:creationId xmlns:a16="http://schemas.microsoft.com/office/drawing/2014/main" id="{80E702E3-1DFB-0E95-5E42-0E80B7ABD4C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4294" y="5840231"/>
            <a:ext cx="284321" cy="28432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D46B618-2CF9-7941-4EA2-0BAE302EE4DF}"/>
              </a:ext>
            </a:extLst>
          </p:cNvPr>
          <p:cNvSpPr txBox="1"/>
          <p:nvPr/>
        </p:nvSpPr>
        <p:spPr>
          <a:xfrm>
            <a:off x="439215" y="4096876"/>
            <a:ext cx="2296800" cy="36691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  <a:alpha val="45000"/>
                </a:schemeClr>
              </a:gs>
              <a:gs pos="100000">
                <a:srgbClr val="191414">
                  <a:alpha val="25000"/>
                </a:srgbClr>
              </a:gs>
            </a:gsLst>
            <a:lin ang="4200000" scaled="0"/>
          </a:gradFill>
        </p:spPr>
        <p:txBody>
          <a:bodyPr wrap="none" lIns="68400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-Suggestions</a:t>
            </a:r>
          </a:p>
        </p:txBody>
      </p:sp>
    </p:spTree>
    <p:extLst>
      <p:ext uri="{BB962C8B-B14F-4D97-AF65-F5344CB8AC3E}">
        <p14:creationId xmlns:p14="http://schemas.microsoft.com/office/powerpoint/2010/main" val="37383889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152D3C6-E0B3-24D4-D954-35A4DEFE5E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141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ECA0E-5FD1-07E5-5901-3B14B5E17D66}"/>
              </a:ext>
            </a:extLst>
          </p:cNvPr>
          <p:cNvSpPr/>
          <p:nvPr/>
        </p:nvSpPr>
        <p:spPr>
          <a:xfrm>
            <a:off x="1819254" y="5762473"/>
            <a:ext cx="10372746" cy="109552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3243572-ADB0-9786-69BF-FA143B8ADEB0}"/>
              </a:ext>
            </a:extLst>
          </p:cNvPr>
          <p:cNvSpPr/>
          <p:nvPr/>
        </p:nvSpPr>
        <p:spPr>
          <a:xfrm>
            <a:off x="1" y="-1"/>
            <a:ext cx="12191997" cy="2971801"/>
          </a:xfrm>
          <a:prstGeom prst="rect">
            <a:avLst/>
          </a:prstGeom>
          <a:solidFill>
            <a:srgbClr val="1DB954"/>
          </a:solidFill>
          <a:ln>
            <a:noFill/>
          </a:ln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AC70E0-C964-CFF8-5D48-2F71033773EF}"/>
              </a:ext>
            </a:extLst>
          </p:cNvPr>
          <p:cNvSpPr txBox="1"/>
          <p:nvPr/>
        </p:nvSpPr>
        <p:spPr>
          <a:xfrm>
            <a:off x="1488293" y="1143451"/>
            <a:ext cx="667622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8800" b="1" dirty="0">
                <a:solidFill>
                  <a:schemeClr val="bg1"/>
                </a:solidFill>
              </a:rPr>
              <a:t>Thank You</a:t>
            </a:r>
            <a:endParaRPr lang="en-US" sz="7200" b="1" dirty="0">
              <a:solidFill>
                <a:schemeClr val="bg1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BE53BD0-2A62-0FD6-74F3-9AC3F1DE7FAD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4197673" y="5762473"/>
            <a:ext cx="8014045" cy="1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Block Arc 13">
            <a:extLst>
              <a:ext uri="{FF2B5EF4-FFF2-40B4-BE49-F238E27FC236}">
                <a16:creationId xmlns:a16="http://schemas.microsoft.com/office/drawing/2014/main" id="{5452E435-748F-5185-5618-B204E7B29A98}"/>
              </a:ext>
            </a:extLst>
          </p:cNvPr>
          <p:cNvSpPr/>
          <p:nvPr/>
        </p:nvSpPr>
        <p:spPr>
          <a:xfrm rot="16200000" flipV="1">
            <a:off x="-877483" y="34011"/>
            <a:ext cx="1715529" cy="1715529"/>
          </a:xfrm>
          <a:prstGeom prst="blockArc">
            <a:avLst>
              <a:gd name="adj1" fmla="val 10800000"/>
              <a:gd name="adj2" fmla="val 21551066"/>
              <a:gd name="adj3" fmla="val 176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7CB4288-926A-9419-FD7F-F5D70D14A643}"/>
              </a:ext>
            </a:extLst>
          </p:cNvPr>
          <p:cNvGrpSpPr/>
          <p:nvPr/>
        </p:nvGrpSpPr>
        <p:grpSpPr>
          <a:xfrm>
            <a:off x="9845350" y="2424120"/>
            <a:ext cx="1054791" cy="1095360"/>
            <a:chOff x="14634168" y="97431"/>
            <a:chExt cx="1054791" cy="109536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7748650-DF58-B9A5-B16F-BA92C1D473AD}"/>
                </a:ext>
              </a:extLst>
            </p:cNvPr>
            <p:cNvSpPr/>
            <p:nvPr/>
          </p:nvSpPr>
          <p:spPr>
            <a:xfrm rot="1725106">
              <a:off x="14634168" y="97431"/>
              <a:ext cx="1054791" cy="10953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phic 25" descr="Record outline">
              <a:extLst>
                <a:ext uri="{FF2B5EF4-FFF2-40B4-BE49-F238E27FC236}">
                  <a16:creationId xmlns:a16="http://schemas.microsoft.com/office/drawing/2014/main" id="{C59B9B5A-7784-75EC-F1EC-142DAE0F2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4743263" y="226811"/>
              <a:ext cx="836601" cy="8366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12405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2IWFFnY9pdUs5SHwuB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Custom 2">
      <a:majorFont>
        <a:latin typeface="Bahnschrif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81D19B7-EA99-4A58-9336-E327E3DAA07A}">
  <we:reference id="wa200005566" version="3.0.0.2" store="en-IN" storeType="OMEX"/>
  <we:alternateReferences>
    <we:reference id="WA200005566" version="3.0.0.2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713</TotalTime>
  <Words>338</Words>
  <Application>Microsoft Office PowerPoint</Application>
  <PresentationFormat>Widescreen</PresentationFormat>
  <Paragraphs>103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Bahnschrift</vt:lpstr>
      <vt:lpstr>Bahnschrift SemiBold SemiConden</vt:lpstr>
      <vt:lpstr>Calibri</vt:lpstr>
      <vt:lpstr>Calibri Light</vt:lpstr>
      <vt:lpstr>Segoe UI</vt:lpstr>
      <vt:lpstr>Times New Roman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24slides18</dc:creator>
  <cp:lastModifiedBy>Surbhi Verma</cp:lastModifiedBy>
  <cp:revision>31</cp:revision>
  <dcterms:created xsi:type="dcterms:W3CDTF">2022-08-29T02:34:37Z</dcterms:created>
  <dcterms:modified xsi:type="dcterms:W3CDTF">2024-06-29T18:29:03Z</dcterms:modified>
</cp:coreProperties>
</file>